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1" r:id="rId5"/>
    <p:sldMasterId id="2147483693" r:id="rId6"/>
    <p:sldMasterId id="2147483708" r:id="rId7"/>
    <p:sldMasterId id="2147483719" r:id="rId8"/>
    <p:sldMasterId id="2147483731" r:id="rId9"/>
  </p:sldMasterIdLst>
  <p:notesMasterIdLst>
    <p:notesMasterId r:id="rId14"/>
  </p:notesMasterIdLst>
  <p:sldIdLst>
    <p:sldId id="256" r:id="rId10"/>
    <p:sldId id="7230" r:id="rId11"/>
    <p:sldId id="7232" r:id="rId12"/>
    <p:sldId id="7231" r:id="rId13"/>
  </p:sldIdLst>
  <p:sldSz cx="12192000" cy="6858000"/>
  <p:notesSz cx="6858000" cy="9144000"/>
  <p:defaultTextStyle>
    <a:defPPr>
      <a:defRPr lang="en-US"/>
    </a:defPPr>
    <a:lvl1pPr marL="0" algn="l" defTabSz="171446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1pPr>
    <a:lvl2pPr marL="171446" algn="l" defTabSz="171446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2pPr>
    <a:lvl3pPr marL="342891" algn="l" defTabSz="171446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3pPr>
    <a:lvl4pPr marL="514337" algn="l" defTabSz="171446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4pPr>
    <a:lvl5pPr marL="685783" algn="l" defTabSz="171446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5pPr>
    <a:lvl6pPr marL="857229" algn="l" defTabSz="171446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6pPr>
    <a:lvl7pPr marL="1028674" algn="l" defTabSz="171446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7pPr>
    <a:lvl8pPr marL="1200120" algn="l" defTabSz="171446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8pPr>
    <a:lvl9pPr marL="1371566" algn="l" defTabSz="171446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n, Yen" initials="TY" lastIdx="3" clrIdx="0">
    <p:extLst>
      <p:ext uri="{19B8F6BF-5375-455C-9EA6-DF929625EA0E}">
        <p15:presenceInfo xmlns:p15="http://schemas.microsoft.com/office/powerpoint/2012/main" userId="S::YTan@PMINTL.NET::481d743c-dab4-4297-bb41-cfaa64851078" providerId="AD"/>
      </p:ext>
    </p:extLst>
  </p:cmAuthor>
  <p:cmAuthor id="2" name="Pedone, Lorena" initials="PL" lastIdx="7" clrIdx="1">
    <p:extLst>
      <p:ext uri="{19B8F6BF-5375-455C-9EA6-DF929625EA0E}">
        <p15:presenceInfo xmlns:p15="http://schemas.microsoft.com/office/powerpoint/2012/main" userId="S::LPedone@PMINTL.NET::7688fa5a-e643-4d4d-8ddc-7e459a6ac1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A7A7A"/>
    <a:srgbClr val="006393"/>
    <a:srgbClr val="001971"/>
    <a:srgbClr val="BAD3FF"/>
    <a:srgbClr val="009DDC"/>
    <a:srgbClr val="868686"/>
    <a:srgbClr val="34A8FD"/>
    <a:srgbClr val="249DF6"/>
    <a:srgbClr val="32AC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9C67CD-1AD5-4704-A8CF-B02073F620FF}" v="43" dt="2020-05-27T16:50:52.8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 Khoury, Andre" userId="d14f172f-c285-48f8-a19f-53a88c3ff2f5" providerId="ADAL" clId="{039C67CD-1AD5-4704-A8CF-B02073F620FF}"/>
    <pc:docChg chg="modSld">
      <pc:chgData name="El Khoury, Andre" userId="d14f172f-c285-48f8-a19f-53a88c3ff2f5" providerId="ADAL" clId="{039C67CD-1AD5-4704-A8CF-B02073F620FF}" dt="2020-06-05T11:35:17.050" v="1" actId="20577"/>
      <pc:docMkLst>
        <pc:docMk/>
      </pc:docMkLst>
      <pc:sldChg chg="modSp">
        <pc:chgData name="El Khoury, Andre" userId="d14f172f-c285-48f8-a19f-53a88c3ff2f5" providerId="ADAL" clId="{039C67CD-1AD5-4704-A8CF-B02073F620FF}" dt="2020-06-05T11:35:17.050" v="1" actId="20577"/>
        <pc:sldMkLst>
          <pc:docMk/>
          <pc:sldMk cId="1411263118" sldId="7230"/>
        </pc:sldMkLst>
        <pc:spChg chg="mod">
          <ac:chgData name="El Khoury, Andre" userId="d14f172f-c285-48f8-a19f-53a88c3ff2f5" providerId="ADAL" clId="{039C67CD-1AD5-4704-A8CF-B02073F620FF}" dt="2020-06-05T11:35:17.050" v="1" actId="20577"/>
          <ac:spMkLst>
            <pc:docMk/>
            <pc:sldMk cId="1411263118" sldId="7230"/>
            <ac:spMk id="55" creationId="{9CB7FC58-497F-475B-97C9-E581C24A4C38}"/>
          </ac:spMkLst>
        </pc:spChg>
      </pc:sldChg>
    </pc:docChg>
  </pc:docChgLst>
  <pc:docChgLst>
    <pc:chgData name="El Khoury, Andre" userId="d14f172f-c285-48f8-a19f-53a88c3ff2f5" providerId="ADAL" clId="{A68F3F4C-08D3-4FEA-9D02-05B742302686}"/>
    <pc:docChg chg="undo custSel addSld modSld">
      <pc:chgData name="El Khoury, Andre" userId="d14f172f-c285-48f8-a19f-53a88c3ff2f5" providerId="ADAL" clId="{A68F3F4C-08D3-4FEA-9D02-05B742302686}" dt="2020-05-27T16:53:16.338" v="1058" actId="20577"/>
      <pc:docMkLst>
        <pc:docMk/>
      </pc:docMkLst>
      <pc:sldChg chg="addSp delSp modSp">
        <pc:chgData name="El Khoury, Andre" userId="d14f172f-c285-48f8-a19f-53a88c3ff2f5" providerId="ADAL" clId="{A68F3F4C-08D3-4FEA-9D02-05B742302686}" dt="2020-05-27T14:59:34.381" v="791" actId="20577"/>
        <pc:sldMkLst>
          <pc:docMk/>
          <pc:sldMk cId="1411263118" sldId="7230"/>
        </pc:sldMkLst>
        <pc:spChg chg="mod">
          <ac:chgData name="El Khoury, Andre" userId="d14f172f-c285-48f8-a19f-53a88c3ff2f5" providerId="ADAL" clId="{A68F3F4C-08D3-4FEA-9D02-05B742302686}" dt="2020-05-27T14:59:34.381" v="791" actId="20577"/>
          <ac:spMkLst>
            <pc:docMk/>
            <pc:sldMk cId="1411263118" sldId="7230"/>
            <ac:spMk id="2" creationId="{00000000-0000-0000-0000-000000000000}"/>
          </ac:spMkLst>
        </pc:spChg>
        <pc:spChg chg="add del mod">
          <ac:chgData name="El Khoury, Andre" userId="d14f172f-c285-48f8-a19f-53a88c3ff2f5" providerId="ADAL" clId="{A68F3F4C-08D3-4FEA-9D02-05B742302686}" dt="2020-05-27T13:21:58.052" v="394" actId="478"/>
          <ac:spMkLst>
            <pc:docMk/>
            <pc:sldMk cId="1411263118" sldId="7230"/>
            <ac:spMk id="4" creationId="{823C8770-4140-446F-838B-9EE69C8D2E6A}"/>
          </ac:spMkLst>
        </pc:spChg>
        <pc:spChg chg="add del mod">
          <ac:chgData name="El Khoury, Andre" userId="d14f172f-c285-48f8-a19f-53a88c3ff2f5" providerId="ADAL" clId="{A68F3F4C-08D3-4FEA-9D02-05B742302686}" dt="2020-05-27T13:22:56.890" v="436" actId="478"/>
          <ac:spMkLst>
            <pc:docMk/>
            <pc:sldMk cId="1411263118" sldId="7230"/>
            <ac:spMk id="15" creationId="{05F730E0-AC88-422D-8173-E41180AC3BAF}"/>
          </ac:spMkLst>
        </pc:spChg>
        <pc:spChg chg="del mod">
          <ac:chgData name="El Khoury, Andre" userId="d14f172f-c285-48f8-a19f-53a88c3ff2f5" providerId="ADAL" clId="{A68F3F4C-08D3-4FEA-9D02-05B742302686}" dt="2020-05-27T13:22:38.814" v="431" actId="478"/>
          <ac:spMkLst>
            <pc:docMk/>
            <pc:sldMk cId="1411263118" sldId="7230"/>
            <ac:spMk id="19" creationId="{E1F073BB-9767-481C-A6B8-7F1ED8209449}"/>
          </ac:spMkLst>
        </pc:spChg>
        <pc:spChg chg="del mod">
          <ac:chgData name="El Khoury, Andre" userId="d14f172f-c285-48f8-a19f-53a88c3ff2f5" providerId="ADAL" clId="{A68F3F4C-08D3-4FEA-9D02-05B742302686}" dt="2020-05-27T13:20:50.023" v="384" actId="478"/>
          <ac:spMkLst>
            <pc:docMk/>
            <pc:sldMk cId="1411263118" sldId="7230"/>
            <ac:spMk id="28" creationId="{72079E22-DBBF-47AD-B3CE-F2FE96843F14}"/>
          </ac:spMkLst>
        </pc:spChg>
        <pc:spChg chg="add mod">
          <ac:chgData name="El Khoury, Andre" userId="d14f172f-c285-48f8-a19f-53a88c3ff2f5" providerId="ADAL" clId="{A68F3F4C-08D3-4FEA-9D02-05B742302686}" dt="2020-05-27T13:27:07.553" v="556" actId="1076"/>
          <ac:spMkLst>
            <pc:docMk/>
            <pc:sldMk cId="1411263118" sldId="7230"/>
            <ac:spMk id="29" creationId="{42817413-6D27-43D5-B20A-A896BA32774F}"/>
          </ac:spMkLst>
        </pc:spChg>
        <pc:spChg chg="del mod">
          <ac:chgData name="El Khoury, Andre" userId="d14f172f-c285-48f8-a19f-53a88c3ff2f5" providerId="ADAL" clId="{A68F3F4C-08D3-4FEA-9D02-05B742302686}" dt="2020-05-27T13:20:48.101" v="383" actId="478"/>
          <ac:spMkLst>
            <pc:docMk/>
            <pc:sldMk cId="1411263118" sldId="7230"/>
            <ac:spMk id="30" creationId="{612AA43B-EB5B-4942-9F60-3A61A8E27BAA}"/>
          </ac:spMkLst>
        </pc:spChg>
        <pc:spChg chg="add mod">
          <ac:chgData name="El Khoury, Andre" userId="d14f172f-c285-48f8-a19f-53a88c3ff2f5" providerId="ADAL" clId="{A68F3F4C-08D3-4FEA-9D02-05B742302686}" dt="2020-05-27T13:27:07.553" v="556" actId="1076"/>
          <ac:spMkLst>
            <pc:docMk/>
            <pc:sldMk cId="1411263118" sldId="7230"/>
            <ac:spMk id="31" creationId="{5ED4F875-57B2-4C5E-99BC-B8049FBCE1CB}"/>
          </ac:spMkLst>
        </pc:spChg>
        <pc:spChg chg="del">
          <ac:chgData name="El Khoury, Andre" userId="d14f172f-c285-48f8-a19f-53a88c3ff2f5" providerId="ADAL" clId="{A68F3F4C-08D3-4FEA-9D02-05B742302686}" dt="2020-05-27T13:20:48.101" v="383" actId="478"/>
          <ac:spMkLst>
            <pc:docMk/>
            <pc:sldMk cId="1411263118" sldId="7230"/>
            <ac:spMk id="32" creationId="{179F6097-87BD-403A-81E7-E382B72B7E51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33" creationId="{D09DFE7F-DAA1-4F7C-9C54-A292CD8A2101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34" creationId="{E72C84B1-953E-404D-9A2C-396C6A1DD940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35" creationId="{3ABE89CB-1050-4B8D-B464-7EEA66698722}"/>
          </ac:spMkLst>
        </pc:spChg>
        <pc:spChg chg="add mod">
          <ac:chgData name="El Khoury, Andre" userId="d14f172f-c285-48f8-a19f-53a88c3ff2f5" providerId="ADAL" clId="{A68F3F4C-08D3-4FEA-9D02-05B742302686}" dt="2020-05-27T13:26:22.041" v="552" actId="1076"/>
          <ac:spMkLst>
            <pc:docMk/>
            <pc:sldMk cId="1411263118" sldId="7230"/>
            <ac:spMk id="36" creationId="{DBCB2828-3ED8-4847-BFBD-1CF9B6B1A18E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37" creationId="{0FDF3666-8D28-4110-8236-099A11171C0E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38" creationId="{82391654-F2B9-43B7-ACFC-32B1864E8690}"/>
          </ac:spMkLst>
        </pc:spChg>
        <pc:spChg chg="add mod">
          <ac:chgData name="El Khoury, Andre" userId="d14f172f-c285-48f8-a19f-53a88c3ff2f5" providerId="ADAL" clId="{A68F3F4C-08D3-4FEA-9D02-05B742302686}" dt="2020-05-27T13:26:22.041" v="552" actId="1076"/>
          <ac:spMkLst>
            <pc:docMk/>
            <pc:sldMk cId="1411263118" sldId="7230"/>
            <ac:spMk id="39" creationId="{A37E5DB2-5E31-4C1A-AAB4-AF710FDBC929}"/>
          </ac:spMkLst>
        </pc:spChg>
        <pc:spChg chg="add del mod">
          <ac:chgData name="El Khoury, Andre" userId="d14f172f-c285-48f8-a19f-53a88c3ff2f5" providerId="ADAL" clId="{A68F3F4C-08D3-4FEA-9D02-05B742302686}" dt="2020-05-27T13:21:58.052" v="394" actId="478"/>
          <ac:spMkLst>
            <pc:docMk/>
            <pc:sldMk cId="1411263118" sldId="7230"/>
            <ac:spMk id="40" creationId="{5C03E1F5-1AF9-44AC-9682-895111FA5DCB}"/>
          </ac:spMkLst>
        </pc:spChg>
        <pc:spChg chg="add del mod">
          <ac:chgData name="El Khoury, Andre" userId="d14f172f-c285-48f8-a19f-53a88c3ff2f5" providerId="ADAL" clId="{A68F3F4C-08D3-4FEA-9D02-05B742302686}" dt="2020-05-27T13:09:53.509" v="79" actId="478"/>
          <ac:spMkLst>
            <pc:docMk/>
            <pc:sldMk cId="1411263118" sldId="7230"/>
            <ac:spMk id="41" creationId="{21C555EB-0F6A-4976-B59A-6B310E915DAE}"/>
          </ac:spMkLst>
        </pc:spChg>
        <pc:spChg chg="add mod">
          <ac:chgData name="El Khoury, Andre" userId="d14f172f-c285-48f8-a19f-53a88c3ff2f5" providerId="ADAL" clId="{A68F3F4C-08D3-4FEA-9D02-05B742302686}" dt="2020-05-27T13:37:35.006" v="766" actId="1036"/>
          <ac:spMkLst>
            <pc:docMk/>
            <pc:sldMk cId="1411263118" sldId="7230"/>
            <ac:spMk id="42" creationId="{BB54D35E-E1C8-4DD7-BE9A-320D1D89B9DF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43" creationId="{825FAA94-A99E-415E-B3CB-443EDBFE1825}"/>
          </ac:spMkLst>
        </pc:spChg>
        <pc:spChg chg="add del mod">
          <ac:chgData name="El Khoury, Andre" userId="d14f172f-c285-48f8-a19f-53a88c3ff2f5" providerId="ADAL" clId="{A68F3F4C-08D3-4FEA-9D02-05B742302686}" dt="2020-05-27T13:09:51.594" v="78" actId="478"/>
          <ac:spMkLst>
            <pc:docMk/>
            <pc:sldMk cId="1411263118" sldId="7230"/>
            <ac:spMk id="44" creationId="{7AD06965-BB35-404B-BBED-D48CCDFDD198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45" creationId="{15C3D5AF-E54B-4BD7-ACFB-1151C243DE17}"/>
          </ac:spMkLst>
        </pc:spChg>
        <pc:spChg chg="del">
          <ac:chgData name="El Khoury, Andre" userId="d14f172f-c285-48f8-a19f-53a88c3ff2f5" providerId="ADAL" clId="{A68F3F4C-08D3-4FEA-9D02-05B742302686}" dt="2020-05-27T13:22:38.814" v="431" actId="478"/>
          <ac:spMkLst>
            <pc:docMk/>
            <pc:sldMk cId="1411263118" sldId="7230"/>
            <ac:spMk id="46" creationId="{A8A80985-E9D5-4D30-AE5E-2A52384A7110}"/>
          </ac:spMkLst>
        </pc:spChg>
        <pc:spChg chg="del mod">
          <ac:chgData name="El Khoury, Andre" userId="d14f172f-c285-48f8-a19f-53a88c3ff2f5" providerId="ADAL" clId="{A68F3F4C-08D3-4FEA-9D02-05B742302686}" dt="2020-05-27T13:22:38.814" v="431" actId="478"/>
          <ac:spMkLst>
            <pc:docMk/>
            <pc:sldMk cId="1411263118" sldId="7230"/>
            <ac:spMk id="47" creationId="{44D7A042-3332-4F05-9290-74C281A83F32}"/>
          </ac:spMkLst>
        </pc:spChg>
        <pc:spChg chg="add del mod">
          <ac:chgData name="El Khoury, Andre" userId="d14f172f-c285-48f8-a19f-53a88c3ff2f5" providerId="ADAL" clId="{A68F3F4C-08D3-4FEA-9D02-05B742302686}" dt="2020-05-27T13:21:41.754" v="391" actId="478"/>
          <ac:spMkLst>
            <pc:docMk/>
            <pc:sldMk cId="1411263118" sldId="7230"/>
            <ac:spMk id="48" creationId="{A2673F50-1160-4AB6-B901-9E14F8AB1A00}"/>
          </ac:spMkLst>
        </pc:spChg>
        <pc:spChg chg="add del">
          <ac:chgData name="El Khoury, Andre" userId="d14f172f-c285-48f8-a19f-53a88c3ff2f5" providerId="ADAL" clId="{A68F3F4C-08D3-4FEA-9D02-05B742302686}" dt="2020-05-27T13:10:06.275" v="90" actId="478"/>
          <ac:spMkLst>
            <pc:docMk/>
            <pc:sldMk cId="1411263118" sldId="7230"/>
            <ac:spMk id="49" creationId="{6C44E3DB-4DAF-46D8-BAD0-3CB0A95B1FCB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50" creationId="{8F19872E-2E02-4FF1-82A3-1086A722A5B5}"/>
          </ac:spMkLst>
        </pc:spChg>
        <pc:spChg chg="add del mod">
          <ac:chgData name="El Khoury, Andre" userId="d14f172f-c285-48f8-a19f-53a88c3ff2f5" providerId="ADAL" clId="{A68F3F4C-08D3-4FEA-9D02-05B742302686}" dt="2020-05-27T13:18:57.675" v="286" actId="478"/>
          <ac:spMkLst>
            <pc:docMk/>
            <pc:sldMk cId="1411263118" sldId="7230"/>
            <ac:spMk id="51" creationId="{D69434D4-A453-457F-A6AA-ACF0DAD876FF}"/>
          </ac:spMkLst>
        </pc:spChg>
        <pc:spChg chg="add mod">
          <ac:chgData name="El Khoury, Andre" userId="d14f172f-c285-48f8-a19f-53a88c3ff2f5" providerId="ADAL" clId="{A68F3F4C-08D3-4FEA-9D02-05B742302686}" dt="2020-05-27T13:27:07.553" v="556" actId="1076"/>
          <ac:spMkLst>
            <pc:docMk/>
            <pc:sldMk cId="1411263118" sldId="7230"/>
            <ac:spMk id="52" creationId="{AAE7A115-E0EB-4F1D-8D4D-3C88B406BB54}"/>
          </ac:spMkLst>
        </pc:spChg>
        <pc:spChg chg="add del mod">
          <ac:chgData name="El Khoury, Andre" userId="d14f172f-c285-48f8-a19f-53a88c3ff2f5" providerId="ADAL" clId="{A68F3F4C-08D3-4FEA-9D02-05B742302686}" dt="2020-05-27T13:21:58.052" v="394" actId="478"/>
          <ac:spMkLst>
            <pc:docMk/>
            <pc:sldMk cId="1411263118" sldId="7230"/>
            <ac:spMk id="53" creationId="{B37A6549-26E2-4B9A-B8F7-FC9E66C17CBE}"/>
          </ac:spMkLst>
        </pc:spChg>
        <pc:spChg chg="add mod">
          <ac:chgData name="El Khoury, Andre" userId="d14f172f-c285-48f8-a19f-53a88c3ff2f5" providerId="ADAL" clId="{A68F3F4C-08D3-4FEA-9D02-05B742302686}" dt="2020-05-27T13:52:53.849" v="773" actId="1076"/>
          <ac:spMkLst>
            <pc:docMk/>
            <pc:sldMk cId="1411263118" sldId="7230"/>
            <ac:spMk id="54" creationId="{8D317BAD-4D3C-445B-88C6-374AABA90F47}"/>
          </ac:spMkLst>
        </pc:spChg>
        <pc:spChg chg="add mod">
          <ac:chgData name="El Khoury, Andre" userId="d14f172f-c285-48f8-a19f-53a88c3ff2f5" providerId="ADAL" clId="{A68F3F4C-08D3-4FEA-9D02-05B742302686}" dt="2020-05-27T13:52:53.849" v="773" actId="1076"/>
          <ac:spMkLst>
            <pc:docMk/>
            <pc:sldMk cId="1411263118" sldId="7230"/>
            <ac:spMk id="55" creationId="{9CB7FC58-497F-475B-97C9-E581C24A4C38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56" creationId="{BABAD74A-2ECD-4039-A441-72444783E664}"/>
          </ac:spMkLst>
        </pc:spChg>
        <pc:spChg chg="add mod">
          <ac:chgData name="El Khoury, Andre" userId="d14f172f-c285-48f8-a19f-53a88c3ff2f5" providerId="ADAL" clId="{A68F3F4C-08D3-4FEA-9D02-05B742302686}" dt="2020-05-27T13:26:31.978" v="553" actId="1076"/>
          <ac:spMkLst>
            <pc:docMk/>
            <pc:sldMk cId="1411263118" sldId="7230"/>
            <ac:spMk id="57" creationId="{F1FF14FA-1170-4CF3-B009-DBE6D7A9936D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58" creationId="{BE24411F-B5C8-4FB1-AB75-8C2D097FCB7C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59" creationId="{AB034E46-855A-4512-A741-62F8B97D28E1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60" creationId="{DDF0B663-76B3-4603-B9D8-985E836A832E}"/>
          </ac:spMkLst>
        </pc:spChg>
        <pc:spChg chg="del mod">
          <ac:chgData name="El Khoury, Andre" userId="d14f172f-c285-48f8-a19f-53a88c3ff2f5" providerId="ADAL" clId="{A68F3F4C-08D3-4FEA-9D02-05B742302686}" dt="2020-05-27T13:21:58.052" v="394" actId="478"/>
          <ac:spMkLst>
            <pc:docMk/>
            <pc:sldMk cId="1411263118" sldId="7230"/>
            <ac:spMk id="61" creationId="{E68618C8-C975-4440-A10C-F8DCE0D0C70F}"/>
          </ac:spMkLst>
        </pc:spChg>
        <pc:spChg chg="del mod">
          <ac:chgData name="El Khoury, Andre" userId="d14f172f-c285-48f8-a19f-53a88c3ff2f5" providerId="ADAL" clId="{A68F3F4C-08D3-4FEA-9D02-05B742302686}" dt="2020-05-27T13:21:58.052" v="394" actId="478"/>
          <ac:spMkLst>
            <pc:docMk/>
            <pc:sldMk cId="1411263118" sldId="7230"/>
            <ac:spMk id="62" creationId="{3B0A5F76-E13F-42B8-843A-09A6871C369D}"/>
          </ac:spMkLst>
        </pc:spChg>
        <pc:spChg chg="del">
          <ac:chgData name="El Khoury, Andre" userId="d14f172f-c285-48f8-a19f-53a88c3ff2f5" providerId="ADAL" clId="{A68F3F4C-08D3-4FEA-9D02-05B742302686}" dt="2020-05-27T13:20:48.101" v="383" actId="478"/>
          <ac:spMkLst>
            <pc:docMk/>
            <pc:sldMk cId="1411263118" sldId="7230"/>
            <ac:spMk id="63" creationId="{0D9BB162-1B20-442E-8C3C-7DEB0CC91E1A}"/>
          </ac:spMkLst>
        </pc:spChg>
        <pc:spChg chg="del">
          <ac:chgData name="El Khoury, Andre" userId="d14f172f-c285-48f8-a19f-53a88c3ff2f5" providerId="ADAL" clId="{A68F3F4C-08D3-4FEA-9D02-05B742302686}" dt="2020-05-27T13:09:26.569" v="73" actId="478"/>
          <ac:spMkLst>
            <pc:docMk/>
            <pc:sldMk cId="1411263118" sldId="7230"/>
            <ac:spMk id="65" creationId="{BAC6BEDD-CF44-4B3E-82E8-D3C4E7AFA537}"/>
          </ac:spMkLst>
        </pc:spChg>
        <pc:spChg chg="del">
          <ac:chgData name="El Khoury, Andre" userId="d14f172f-c285-48f8-a19f-53a88c3ff2f5" providerId="ADAL" clId="{A68F3F4C-08D3-4FEA-9D02-05B742302686}" dt="2020-05-27T13:20:48.101" v="383" actId="478"/>
          <ac:spMkLst>
            <pc:docMk/>
            <pc:sldMk cId="1411263118" sldId="7230"/>
            <ac:spMk id="66" creationId="{C61AA605-9F58-4419-A7F3-1A20F576E245}"/>
          </ac:spMkLst>
        </pc:spChg>
        <pc:spChg chg="add mod">
          <ac:chgData name="El Khoury, Andre" userId="d14f172f-c285-48f8-a19f-53a88c3ff2f5" providerId="ADAL" clId="{A68F3F4C-08D3-4FEA-9D02-05B742302686}" dt="2020-05-27T13:53:09.611" v="776" actId="20577"/>
          <ac:spMkLst>
            <pc:docMk/>
            <pc:sldMk cId="1411263118" sldId="7230"/>
            <ac:spMk id="67" creationId="{04335C8D-4A4A-432B-978F-92AAA7B55DC3}"/>
          </ac:spMkLst>
        </pc:spChg>
        <pc:spChg chg="add mod">
          <ac:chgData name="El Khoury, Andre" userId="d14f172f-c285-48f8-a19f-53a88c3ff2f5" providerId="ADAL" clId="{A68F3F4C-08D3-4FEA-9D02-05B742302686}" dt="2020-05-27T13:26:31.978" v="553" actId="1076"/>
          <ac:spMkLst>
            <pc:docMk/>
            <pc:sldMk cId="1411263118" sldId="7230"/>
            <ac:spMk id="68" creationId="{3DECD71C-BE30-4974-847C-55B27F91EAB2}"/>
          </ac:spMkLst>
        </pc:spChg>
        <pc:spChg chg="add del mod">
          <ac:chgData name="El Khoury, Andre" userId="d14f172f-c285-48f8-a19f-53a88c3ff2f5" providerId="ADAL" clId="{A68F3F4C-08D3-4FEA-9D02-05B742302686}" dt="2020-05-27T13:21:29.287" v="389" actId="478"/>
          <ac:spMkLst>
            <pc:docMk/>
            <pc:sldMk cId="1411263118" sldId="7230"/>
            <ac:spMk id="69" creationId="{0A38DCF1-A394-4145-8D57-D6D7A30ED919}"/>
          </ac:spMkLst>
        </pc:spChg>
        <pc:spChg chg="add mod">
          <ac:chgData name="El Khoury, Andre" userId="d14f172f-c285-48f8-a19f-53a88c3ff2f5" providerId="ADAL" clId="{A68F3F4C-08D3-4FEA-9D02-05B742302686}" dt="2020-05-27T13:37:35.006" v="766" actId="1036"/>
          <ac:spMkLst>
            <pc:docMk/>
            <pc:sldMk cId="1411263118" sldId="7230"/>
            <ac:spMk id="70" creationId="{33DCEC2A-5143-4664-BF1F-8FE3E1BF3B1C}"/>
          </ac:spMkLst>
        </pc:spChg>
        <pc:spChg chg="add mod">
          <ac:chgData name="El Khoury, Andre" userId="d14f172f-c285-48f8-a19f-53a88c3ff2f5" providerId="ADAL" clId="{A68F3F4C-08D3-4FEA-9D02-05B742302686}" dt="2020-05-27T13:27:07.553" v="556" actId="1076"/>
          <ac:spMkLst>
            <pc:docMk/>
            <pc:sldMk cId="1411263118" sldId="7230"/>
            <ac:spMk id="71" creationId="{7D8A574A-DD3E-4C14-AB99-CE00CC3CA054}"/>
          </ac:spMkLst>
        </pc:spChg>
        <pc:spChg chg="add mod">
          <ac:chgData name="El Khoury, Andre" userId="d14f172f-c285-48f8-a19f-53a88c3ff2f5" providerId="ADAL" clId="{A68F3F4C-08D3-4FEA-9D02-05B742302686}" dt="2020-05-27T13:26:31.978" v="553" actId="1076"/>
          <ac:spMkLst>
            <pc:docMk/>
            <pc:sldMk cId="1411263118" sldId="7230"/>
            <ac:spMk id="72" creationId="{985FA5A0-7C9F-4ACB-A2B4-A31B0FD04423}"/>
          </ac:spMkLst>
        </pc:spChg>
        <pc:spChg chg="add mod">
          <ac:chgData name="El Khoury, Andre" userId="d14f172f-c285-48f8-a19f-53a88c3ff2f5" providerId="ADAL" clId="{A68F3F4C-08D3-4FEA-9D02-05B742302686}" dt="2020-05-27T13:32:05.699" v="649" actId="20577"/>
          <ac:spMkLst>
            <pc:docMk/>
            <pc:sldMk cId="1411263118" sldId="7230"/>
            <ac:spMk id="73" creationId="{C37B040A-44AD-484A-8FFC-FB3B3F46D35E}"/>
          </ac:spMkLst>
        </pc:spChg>
        <pc:spChg chg="add mod">
          <ac:chgData name="El Khoury, Andre" userId="d14f172f-c285-48f8-a19f-53a88c3ff2f5" providerId="ADAL" clId="{A68F3F4C-08D3-4FEA-9D02-05B742302686}" dt="2020-05-27T13:31:46.510" v="628" actId="1076"/>
          <ac:spMkLst>
            <pc:docMk/>
            <pc:sldMk cId="1411263118" sldId="7230"/>
            <ac:spMk id="74" creationId="{B9AEAAAC-11D2-4F6B-9180-6C0B62558A75}"/>
          </ac:spMkLst>
        </pc:spChg>
        <pc:spChg chg="add mod">
          <ac:chgData name="El Khoury, Andre" userId="d14f172f-c285-48f8-a19f-53a88c3ff2f5" providerId="ADAL" clId="{A68F3F4C-08D3-4FEA-9D02-05B742302686}" dt="2020-05-27T13:37:35.006" v="766" actId="1036"/>
          <ac:spMkLst>
            <pc:docMk/>
            <pc:sldMk cId="1411263118" sldId="7230"/>
            <ac:spMk id="75" creationId="{56F1B096-F41B-41CE-A7C9-E6171D3330F2}"/>
          </ac:spMkLst>
        </pc:spChg>
        <pc:spChg chg="add mod">
          <ac:chgData name="El Khoury, Andre" userId="d14f172f-c285-48f8-a19f-53a88c3ff2f5" providerId="ADAL" clId="{A68F3F4C-08D3-4FEA-9D02-05B742302686}" dt="2020-05-27T13:37:35.006" v="766" actId="1036"/>
          <ac:spMkLst>
            <pc:docMk/>
            <pc:sldMk cId="1411263118" sldId="7230"/>
            <ac:spMk id="76" creationId="{2D80BFF8-07C0-450F-B9C7-4D5F51F5F216}"/>
          </ac:spMkLst>
        </pc:spChg>
        <pc:spChg chg="add del mod">
          <ac:chgData name="El Khoury, Andre" userId="d14f172f-c285-48f8-a19f-53a88c3ff2f5" providerId="ADAL" clId="{A68F3F4C-08D3-4FEA-9D02-05B742302686}" dt="2020-05-27T13:25:35.156" v="518" actId="478"/>
          <ac:spMkLst>
            <pc:docMk/>
            <pc:sldMk cId="1411263118" sldId="7230"/>
            <ac:spMk id="77" creationId="{7986B03A-AD84-4EA4-9D01-3BDCBB99FB39}"/>
          </ac:spMkLst>
        </pc:spChg>
        <pc:spChg chg="add mod">
          <ac:chgData name="El Khoury, Andre" userId="d14f172f-c285-48f8-a19f-53a88c3ff2f5" providerId="ADAL" clId="{A68F3F4C-08D3-4FEA-9D02-05B742302686}" dt="2020-05-27T13:37:35.006" v="766" actId="1036"/>
          <ac:spMkLst>
            <pc:docMk/>
            <pc:sldMk cId="1411263118" sldId="7230"/>
            <ac:spMk id="78" creationId="{008F6E0C-105F-4004-A4BA-5E93D8A8349E}"/>
          </ac:spMkLst>
        </pc:spChg>
        <pc:spChg chg="add mod">
          <ac:chgData name="El Khoury, Andre" userId="d14f172f-c285-48f8-a19f-53a88c3ff2f5" providerId="ADAL" clId="{A68F3F4C-08D3-4FEA-9D02-05B742302686}" dt="2020-05-27T13:26:31.978" v="553" actId="1076"/>
          <ac:spMkLst>
            <pc:docMk/>
            <pc:sldMk cId="1411263118" sldId="7230"/>
            <ac:spMk id="79" creationId="{B3D67095-888F-4E94-BAAA-0252EACF07FA}"/>
          </ac:spMkLst>
        </pc:spChg>
        <pc:spChg chg="add mod">
          <ac:chgData name="El Khoury, Andre" userId="d14f172f-c285-48f8-a19f-53a88c3ff2f5" providerId="ADAL" clId="{A68F3F4C-08D3-4FEA-9D02-05B742302686}" dt="2020-05-27T13:30:49.325" v="611" actId="1076"/>
          <ac:spMkLst>
            <pc:docMk/>
            <pc:sldMk cId="1411263118" sldId="7230"/>
            <ac:spMk id="80" creationId="{4FADCCD3-A72C-45B9-9220-36F293E46E4A}"/>
          </ac:spMkLst>
        </pc:spChg>
        <pc:spChg chg="add mod">
          <ac:chgData name="El Khoury, Andre" userId="d14f172f-c285-48f8-a19f-53a88c3ff2f5" providerId="ADAL" clId="{A68F3F4C-08D3-4FEA-9D02-05B742302686}" dt="2020-05-27T13:52:53.849" v="773" actId="1076"/>
          <ac:spMkLst>
            <pc:docMk/>
            <pc:sldMk cId="1411263118" sldId="7230"/>
            <ac:spMk id="81" creationId="{EC870FDC-B0E4-4141-AA93-90ED9737A025}"/>
          </ac:spMkLst>
        </pc:spChg>
        <pc:spChg chg="add mod">
          <ac:chgData name="El Khoury, Andre" userId="d14f172f-c285-48f8-a19f-53a88c3ff2f5" providerId="ADAL" clId="{A68F3F4C-08D3-4FEA-9D02-05B742302686}" dt="2020-05-27T13:52:58.201" v="774" actId="14100"/>
          <ac:spMkLst>
            <pc:docMk/>
            <pc:sldMk cId="1411263118" sldId="7230"/>
            <ac:spMk id="82" creationId="{E38A8D3B-4925-4140-9B1A-BC3F553589EA}"/>
          </ac:spMkLst>
        </pc:spChg>
        <pc:spChg chg="add del mod">
          <ac:chgData name="El Khoury, Andre" userId="d14f172f-c285-48f8-a19f-53a88c3ff2f5" providerId="ADAL" clId="{A68F3F4C-08D3-4FEA-9D02-05B742302686}" dt="2020-05-27T13:30:22.855" v="587" actId="478"/>
          <ac:spMkLst>
            <pc:docMk/>
            <pc:sldMk cId="1411263118" sldId="7230"/>
            <ac:spMk id="83" creationId="{0EA4AAE7-BBAF-48CD-A67A-9A47BA47BA75}"/>
          </ac:spMkLst>
        </pc:spChg>
        <pc:spChg chg="add mod">
          <ac:chgData name="El Khoury, Andre" userId="d14f172f-c285-48f8-a19f-53a88c3ff2f5" providerId="ADAL" clId="{A68F3F4C-08D3-4FEA-9D02-05B742302686}" dt="2020-05-27T13:52:58.201" v="774" actId="14100"/>
          <ac:spMkLst>
            <pc:docMk/>
            <pc:sldMk cId="1411263118" sldId="7230"/>
            <ac:spMk id="84" creationId="{3D0C0ACE-0A60-41A5-BB3C-1CF06A2CE436}"/>
          </ac:spMkLst>
        </pc:spChg>
        <pc:spChg chg="add mod">
          <ac:chgData name="El Khoury, Andre" userId="d14f172f-c285-48f8-a19f-53a88c3ff2f5" providerId="ADAL" clId="{A68F3F4C-08D3-4FEA-9D02-05B742302686}" dt="2020-05-27T13:52:53.849" v="773" actId="1076"/>
          <ac:spMkLst>
            <pc:docMk/>
            <pc:sldMk cId="1411263118" sldId="7230"/>
            <ac:spMk id="85" creationId="{0499B39A-9DAF-4D7C-9553-9E563DA3B11D}"/>
          </ac:spMkLst>
        </pc:spChg>
        <pc:spChg chg="add mod">
          <ac:chgData name="El Khoury, Andre" userId="d14f172f-c285-48f8-a19f-53a88c3ff2f5" providerId="ADAL" clId="{A68F3F4C-08D3-4FEA-9D02-05B742302686}" dt="2020-05-27T13:52:53.849" v="773" actId="1076"/>
          <ac:spMkLst>
            <pc:docMk/>
            <pc:sldMk cId="1411263118" sldId="7230"/>
            <ac:spMk id="86" creationId="{3FA0DD50-C1C8-41D8-AC8A-AE9C4A28555F}"/>
          </ac:spMkLst>
        </pc:spChg>
        <pc:spChg chg="add mod">
          <ac:chgData name="El Khoury, Andre" userId="d14f172f-c285-48f8-a19f-53a88c3ff2f5" providerId="ADAL" clId="{A68F3F4C-08D3-4FEA-9D02-05B742302686}" dt="2020-05-27T13:37:35.006" v="766" actId="1036"/>
          <ac:spMkLst>
            <pc:docMk/>
            <pc:sldMk cId="1411263118" sldId="7230"/>
            <ac:spMk id="87" creationId="{0DDDF60D-A5D6-4533-A9E4-9297A8B5759C}"/>
          </ac:spMkLst>
        </pc:spChg>
        <pc:spChg chg="add mod">
          <ac:chgData name="El Khoury, Andre" userId="d14f172f-c285-48f8-a19f-53a88c3ff2f5" providerId="ADAL" clId="{A68F3F4C-08D3-4FEA-9D02-05B742302686}" dt="2020-05-27T13:37:35.006" v="766" actId="1036"/>
          <ac:spMkLst>
            <pc:docMk/>
            <pc:sldMk cId="1411263118" sldId="7230"/>
            <ac:spMk id="88" creationId="{09C380BC-BD9F-4A7D-9742-DC3A3C883E2C}"/>
          </ac:spMkLst>
        </pc:spChg>
        <pc:spChg chg="add mod">
          <ac:chgData name="El Khoury, Andre" userId="d14f172f-c285-48f8-a19f-53a88c3ff2f5" providerId="ADAL" clId="{A68F3F4C-08D3-4FEA-9D02-05B742302686}" dt="2020-05-27T13:37:35.006" v="766" actId="1036"/>
          <ac:spMkLst>
            <pc:docMk/>
            <pc:sldMk cId="1411263118" sldId="7230"/>
            <ac:spMk id="89" creationId="{8D1CCAA3-52DC-4439-A435-3BD6B7F465DC}"/>
          </ac:spMkLst>
        </pc:spChg>
      </pc:sldChg>
      <pc:sldChg chg="add">
        <pc:chgData name="El Khoury, Andre" userId="d14f172f-c285-48f8-a19f-53a88c3ff2f5" providerId="ADAL" clId="{A68F3F4C-08D3-4FEA-9D02-05B742302686}" dt="2020-05-27T13:09:22.002" v="72"/>
        <pc:sldMkLst>
          <pc:docMk/>
          <pc:sldMk cId="4007341743" sldId="7231"/>
        </pc:sldMkLst>
      </pc:sldChg>
      <pc:sldChg chg="addSp delSp modSp add">
        <pc:chgData name="El Khoury, Andre" userId="d14f172f-c285-48f8-a19f-53a88c3ff2f5" providerId="ADAL" clId="{A68F3F4C-08D3-4FEA-9D02-05B742302686}" dt="2020-05-27T16:53:16.338" v="1058" actId="20577"/>
        <pc:sldMkLst>
          <pc:docMk/>
          <pc:sldMk cId="2374079970" sldId="7232"/>
        </pc:sldMkLst>
        <pc:spChg chg="mod">
          <ac:chgData name="El Khoury, Andre" userId="d14f172f-c285-48f8-a19f-53a88c3ff2f5" providerId="ADAL" clId="{A68F3F4C-08D3-4FEA-9D02-05B742302686}" dt="2020-05-27T16:49:21.668" v="809" actId="20577"/>
          <ac:spMkLst>
            <pc:docMk/>
            <pc:sldMk cId="2374079970" sldId="7232"/>
            <ac:spMk id="2" creationId="{00000000-0000-0000-0000-000000000000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29" creationId="{42817413-6D27-43D5-B20A-A896BA32774F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31" creationId="{5ED4F875-57B2-4C5E-99BC-B8049FBCE1CB}"/>
          </ac:spMkLst>
        </pc:spChg>
        <pc:spChg chg="add mod">
          <ac:chgData name="El Khoury, Andre" userId="d14f172f-c285-48f8-a19f-53a88c3ff2f5" providerId="ADAL" clId="{A68F3F4C-08D3-4FEA-9D02-05B742302686}" dt="2020-05-27T16:53:16.338" v="1058" actId="20577"/>
          <ac:spMkLst>
            <pc:docMk/>
            <pc:sldMk cId="2374079970" sldId="7232"/>
            <ac:spMk id="33" creationId="{52DABC11-8380-4B98-93CC-1BCFFAC71A97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36" creationId="{DBCB2828-3ED8-4847-BFBD-1CF9B6B1A18E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39" creationId="{A37E5DB2-5E31-4C1A-AAB4-AF710FDBC929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42" creationId="{BB54D35E-E1C8-4DD7-BE9A-320D1D89B9DF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52" creationId="{AAE7A115-E0EB-4F1D-8D4D-3C88B406BB54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54" creationId="{8D317BAD-4D3C-445B-88C6-374AABA90F47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55" creationId="{9CB7FC58-497F-475B-97C9-E581C24A4C38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57" creationId="{F1FF14FA-1170-4CF3-B009-DBE6D7A9936D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67" creationId="{04335C8D-4A4A-432B-978F-92AAA7B55DC3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68" creationId="{3DECD71C-BE30-4974-847C-55B27F91EAB2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70" creationId="{33DCEC2A-5143-4664-BF1F-8FE3E1BF3B1C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71" creationId="{7D8A574A-DD3E-4C14-AB99-CE00CC3CA054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72" creationId="{985FA5A0-7C9F-4ACB-A2B4-A31B0FD04423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73" creationId="{C37B040A-44AD-484A-8FFC-FB3B3F46D35E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74" creationId="{B9AEAAAC-11D2-4F6B-9180-6C0B62558A75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75" creationId="{56F1B096-F41B-41CE-A7C9-E6171D3330F2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76" creationId="{2D80BFF8-07C0-450F-B9C7-4D5F51F5F216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78" creationId="{008F6E0C-105F-4004-A4BA-5E93D8A8349E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79" creationId="{B3D67095-888F-4E94-BAAA-0252EACF07FA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80" creationId="{4FADCCD3-A72C-45B9-9220-36F293E46E4A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81" creationId="{EC870FDC-B0E4-4141-AA93-90ED9737A025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82" creationId="{E38A8D3B-4925-4140-9B1A-BC3F553589EA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84" creationId="{3D0C0ACE-0A60-41A5-BB3C-1CF06A2CE436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85" creationId="{0499B39A-9DAF-4D7C-9553-9E563DA3B11D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86" creationId="{3FA0DD50-C1C8-41D8-AC8A-AE9C4A28555F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87" creationId="{0DDDF60D-A5D6-4533-A9E4-9297A8B5759C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88" creationId="{09C380BC-BD9F-4A7D-9742-DC3A3C883E2C}"/>
          </ac:spMkLst>
        </pc:spChg>
        <pc:spChg chg="del">
          <ac:chgData name="El Khoury, Andre" userId="d14f172f-c285-48f8-a19f-53a88c3ff2f5" providerId="ADAL" clId="{A68F3F4C-08D3-4FEA-9D02-05B742302686}" dt="2020-05-27T14:59:51.236" v="793" actId="478"/>
          <ac:spMkLst>
            <pc:docMk/>
            <pc:sldMk cId="2374079970" sldId="7232"/>
            <ac:spMk id="89" creationId="{8D1CCAA3-52DC-4439-A435-3BD6B7F465D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CE42D4-DA20-4242-A605-F71FC0D43734}" type="datetimeFigureOut">
              <a:rPr lang="en-US" smtClean="0"/>
              <a:t>6/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51A266-88B4-493D-B1A1-81F1D98665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014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51A266-88B4-493D-B1A1-81F1D986658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26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51A266-88B4-493D-B1A1-81F1D986658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9715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51A266-88B4-493D-B1A1-81F1D986658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454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407"/>
          <a:stretch/>
        </p:blipFill>
        <p:spPr>
          <a:xfrm>
            <a:off x="2" y="935369"/>
            <a:ext cx="12191999" cy="5924419"/>
          </a:xfrm>
          <a:prstGeom prst="rect">
            <a:avLst/>
          </a:prstGeom>
        </p:spPr>
      </p:pic>
      <p:pic>
        <p:nvPicPr>
          <p:cNvPr id="10" name="Picture 9" descr="PMI_Logo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98" y="331539"/>
            <a:ext cx="2798631" cy="67167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376161" y="428121"/>
            <a:ext cx="419055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67">
                <a:solidFill>
                  <a:srgbClr val="1787D7"/>
                </a:solidFill>
                <a:latin typeface="Lato" charset="0"/>
                <a:ea typeface="Lato" charset="0"/>
                <a:cs typeface="Lato" charset="0"/>
              </a:rPr>
              <a:t>Designing a Smoke-Free Fu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6797" y="1436160"/>
            <a:ext cx="4727787" cy="2264833"/>
          </a:xfrm>
        </p:spPr>
        <p:txBody>
          <a:bodyPr anchor="b">
            <a:normAutofit/>
          </a:bodyPr>
          <a:lstStyle>
            <a:lvl1pPr algn="l"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797" y="3781426"/>
            <a:ext cx="4727787" cy="1003300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12928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6185"/>
            <a:ext cx="2628900" cy="581024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6185"/>
            <a:ext cx="7683500" cy="581024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68597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8" name="Rectangle 7"/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2263" y="1941587"/>
            <a:ext cx="4727308" cy="2918757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2263" y="4891632"/>
            <a:ext cx="4727308" cy="108244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12000088" y="1"/>
            <a:ext cx="191912" cy="6857999"/>
            <a:chOff x="9000066" y="0"/>
            <a:chExt cx="143934" cy="5143499"/>
          </a:xfrm>
        </p:grpSpPr>
        <p:sp>
          <p:nvSpPr>
            <p:cNvPr id="20" name="Rectangle 19"/>
            <p:cNvSpPr/>
            <p:nvPr/>
          </p:nvSpPr>
          <p:spPr>
            <a:xfrm flipH="1">
              <a:off x="9000066" y="0"/>
              <a:ext cx="143934" cy="2586681"/>
            </a:xfrm>
            <a:prstGeom prst="rect">
              <a:avLst/>
            </a:prstGeom>
            <a:solidFill>
              <a:srgbClr val="003C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 flipH="1">
              <a:off x="9000066" y="1280160"/>
              <a:ext cx="143934" cy="1306521"/>
            </a:xfrm>
            <a:prstGeom prst="rect">
              <a:avLst/>
            </a:prstGeom>
            <a:solidFill>
              <a:srgbClr val="009B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 flipH="1">
              <a:off x="9000066" y="2558569"/>
              <a:ext cx="143934" cy="1306521"/>
            </a:xfrm>
            <a:prstGeom prst="rect">
              <a:avLst/>
            </a:prstGeom>
            <a:solidFill>
              <a:srgbClr val="AA1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 flipH="1">
              <a:off x="9000066" y="3836978"/>
              <a:ext cx="143934" cy="1306521"/>
            </a:xfrm>
            <a:prstGeom prst="rect">
              <a:avLst/>
            </a:prstGeom>
            <a:solidFill>
              <a:srgbClr val="3EBF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" name="Rectangle 26"/>
          <p:cNvSpPr/>
          <p:nvPr/>
        </p:nvSpPr>
        <p:spPr>
          <a:xfrm>
            <a:off x="5674547" y="-1"/>
            <a:ext cx="6325540" cy="6858000"/>
          </a:xfrm>
          <a:prstGeom prst="rect">
            <a:avLst/>
          </a:prstGeom>
          <a:solidFill>
            <a:srgbClr val="F0F5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alphaModFix amt="9000"/>
          </a:blip>
          <a:stretch>
            <a:fillRect/>
          </a:stretch>
        </p:blipFill>
        <p:spPr>
          <a:xfrm>
            <a:off x="6937622" y="1918268"/>
            <a:ext cx="3733165" cy="289954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AEAA2B3-4AC5-164B-AF20-4769CA067462}"/>
              </a:ext>
            </a:extLst>
          </p:cNvPr>
          <p:cNvSpPr txBox="1"/>
          <p:nvPr/>
        </p:nvSpPr>
        <p:spPr>
          <a:xfrm>
            <a:off x="454005" y="1067218"/>
            <a:ext cx="3788088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5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1971"/>
                </a:solidFill>
                <a:effectLst/>
                <a:uLnTx/>
                <a:uFillTx/>
                <a:latin typeface="Lato Light" panose="020F0302020204030203" pitchFamily="34" charset="77"/>
                <a:ea typeface="+mn-ea"/>
                <a:cs typeface="+mn-cs"/>
              </a:rPr>
              <a:t>Delivering a Smoke-Free Future</a:t>
            </a:r>
          </a:p>
        </p:txBody>
      </p:sp>
      <p:pic>
        <p:nvPicPr>
          <p:cNvPr id="9" name="Picture 8" descr="A picture containing dark, sitting, orange, black&#10;&#10;Description automatically generated">
            <a:extLst>
              <a:ext uri="{FF2B5EF4-FFF2-40B4-BE49-F238E27FC236}">
                <a16:creationId xmlns:a16="http://schemas.microsoft.com/office/drawing/2014/main" id="{4B384D37-23A5-441F-9C4F-732C8C7A26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63"/>
          <a:stretch/>
        </p:blipFill>
        <p:spPr>
          <a:xfrm>
            <a:off x="529581" y="302772"/>
            <a:ext cx="5058517" cy="82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7452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5119" y="379333"/>
            <a:ext cx="11593215" cy="102912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31666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_str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5119" y="379333"/>
            <a:ext cx="11593215" cy="102912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A22319B-58EB-46FE-A00D-FF74721A2D17}"/>
              </a:ext>
            </a:extLst>
          </p:cNvPr>
          <p:cNvGrpSpPr/>
          <p:nvPr/>
        </p:nvGrpSpPr>
        <p:grpSpPr>
          <a:xfrm>
            <a:off x="12000088" y="1"/>
            <a:ext cx="191912" cy="6857999"/>
            <a:chOff x="9000066" y="0"/>
            <a:chExt cx="143934" cy="51434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DCDA766-A4A8-4829-A80C-A279EBB4EEDC}"/>
                </a:ext>
              </a:extLst>
            </p:cNvPr>
            <p:cNvSpPr/>
            <p:nvPr/>
          </p:nvSpPr>
          <p:spPr>
            <a:xfrm flipH="1">
              <a:off x="9000066" y="0"/>
              <a:ext cx="143934" cy="2586681"/>
            </a:xfrm>
            <a:prstGeom prst="rect">
              <a:avLst/>
            </a:prstGeom>
            <a:solidFill>
              <a:srgbClr val="003C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6BF563F-ECE1-4524-A3FA-ACBD909F0F51}"/>
                </a:ext>
              </a:extLst>
            </p:cNvPr>
            <p:cNvSpPr/>
            <p:nvPr/>
          </p:nvSpPr>
          <p:spPr>
            <a:xfrm flipH="1">
              <a:off x="9000066" y="1280160"/>
              <a:ext cx="143934" cy="1306521"/>
            </a:xfrm>
            <a:prstGeom prst="rect">
              <a:avLst/>
            </a:prstGeom>
            <a:solidFill>
              <a:srgbClr val="009B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0E7AF0D-D86E-4113-A03F-590591730F10}"/>
                </a:ext>
              </a:extLst>
            </p:cNvPr>
            <p:cNvSpPr/>
            <p:nvPr/>
          </p:nvSpPr>
          <p:spPr>
            <a:xfrm flipH="1">
              <a:off x="9000066" y="2558569"/>
              <a:ext cx="143934" cy="1306521"/>
            </a:xfrm>
            <a:prstGeom prst="rect">
              <a:avLst/>
            </a:prstGeom>
            <a:solidFill>
              <a:srgbClr val="AA1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CEEB4F6-6F10-416B-B318-0B66820CB98E}"/>
                </a:ext>
              </a:extLst>
            </p:cNvPr>
            <p:cNvSpPr/>
            <p:nvPr/>
          </p:nvSpPr>
          <p:spPr>
            <a:xfrm flipH="1">
              <a:off x="9000066" y="3836978"/>
              <a:ext cx="143934" cy="1306521"/>
            </a:xfrm>
            <a:prstGeom prst="rect">
              <a:avLst/>
            </a:prstGeom>
            <a:solidFill>
              <a:srgbClr val="3EBF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90066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74505" y="1856811"/>
            <a:ext cx="7351896" cy="3074176"/>
          </a:xfrm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Break title</a:t>
            </a:r>
          </a:p>
        </p:txBody>
      </p:sp>
    </p:spTree>
    <p:extLst>
      <p:ext uri="{BB962C8B-B14F-4D97-AF65-F5344CB8AC3E}">
        <p14:creationId xmlns:p14="http://schemas.microsoft.com/office/powerpoint/2010/main" val="2431235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_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74505" y="1856811"/>
            <a:ext cx="7351896" cy="3074176"/>
          </a:xfrm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Break title</a:t>
            </a:r>
          </a:p>
        </p:txBody>
      </p:sp>
    </p:spTree>
    <p:extLst>
      <p:ext uri="{BB962C8B-B14F-4D97-AF65-F5344CB8AC3E}">
        <p14:creationId xmlns:p14="http://schemas.microsoft.com/office/powerpoint/2010/main" val="3315642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19" y="386986"/>
            <a:ext cx="11593215" cy="10291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7888" y="1416108"/>
            <a:ext cx="4156489" cy="4452411"/>
          </a:xfrm>
        </p:spPr>
        <p:txBody>
          <a:bodyPr/>
          <a:lstStyle>
            <a:lvl2pPr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sp>
        <p:nvSpPr>
          <p:cNvPr id="7" name="Picture Placeholder 2"/>
          <p:cNvSpPr>
            <a:spLocks noGrp="1"/>
          </p:cNvSpPr>
          <p:nvPr>
            <p:ph type="pic" idx="13"/>
          </p:nvPr>
        </p:nvSpPr>
        <p:spPr>
          <a:xfrm>
            <a:off x="5181600" y="1416109"/>
            <a:ext cx="6172200" cy="4452409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37839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_str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19" y="386986"/>
            <a:ext cx="11593215" cy="10291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7888" y="1416108"/>
            <a:ext cx="4156489" cy="4452411"/>
          </a:xfrm>
        </p:spPr>
        <p:txBody>
          <a:bodyPr/>
          <a:lstStyle>
            <a:lvl2pPr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sp>
        <p:nvSpPr>
          <p:cNvPr id="7" name="Picture Placeholder 2"/>
          <p:cNvSpPr>
            <a:spLocks noGrp="1"/>
          </p:cNvSpPr>
          <p:nvPr>
            <p:ph type="pic" idx="13"/>
          </p:nvPr>
        </p:nvSpPr>
        <p:spPr>
          <a:xfrm>
            <a:off x="5181600" y="1416109"/>
            <a:ext cx="6172200" cy="4452409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58DC57E-A531-4713-BFA9-87C2867C938C}"/>
              </a:ext>
            </a:extLst>
          </p:cNvPr>
          <p:cNvGrpSpPr/>
          <p:nvPr/>
        </p:nvGrpSpPr>
        <p:grpSpPr>
          <a:xfrm>
            <a:off x="12000088" y="1"/>
            <a:ext cx="191912" cy="6857999"/>
            <a:chOff x="9000066" y="0"/>
            <a:chExt cx="143934" cy="514349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528F131-5BD5-4A9C-AC1D-0F907887A379}"/>
                </a:ext>
              </a:extLst>
            </p:cNvPr>
            <p:cNvSpPr/>
            <p:nvPr/>
          </p:nvSpPr>
          <p:spPr>
            <a:xfrm flipH="1">
              <a:off x="9000066" y="0"/>
              <a:ext cx="143934" cy="2586681"/>
            </a:xfrm>
            <a:prstGeom prst="rect">
              <a:avLst/>
            </a:prstGeom>
            <a:solidFill>
              <a:srgbClr val="003C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C46B22F-3484-445F-B4FE-6FA3D3248C0A}"/>
                </a:ext>
              </a:extLst>
            </p:cNvPr>
            <p:cNvSpPr/>
            <p:nvPr/>
          </p:nvSpPr>
          <p:spPr>
            <a:xfrm flipH="1">
              <a:off x="9000066" y="1280160"/>
              <a:ext cx="143934" cy="1306521"/>
            </a:xfrm>
            <a:prstGeom prst="rect">
              <a:avLst/>
            </a:prstGeom>
            <a:solidFill>
              <a:srgbClr val="009B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A743567-D1B9-41EE-993D-ADE76DBD35B7}"/>
                </a:ext>
              </a:extLst>
            </p:cNvPr>
            <p:cNvSpPr/>
            <p:nvPr/>
          </p:nvSpPr>
          <p:spPr>
            <a:xfrm flipH="1">
              <a:off x="9000066" y="2558569"/>
              <a:ext cx="143934" cy="1306521"/>
            </a:xfrm>
            <a:prstGeom prst="rect">
              <a:avLst/>
            </a:prstGeom>
            <a:solidFill>
              <a:srgbClr val="AA1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EC66257-971A-4A02-8275-3AC4EFAE6BA0}"/>
                </a:ext>
              </a:extLst>
            </p:cNvPr>
            <p:cNvSpPr/>
            <p:nvPr/>
          </p:nvSpPr>
          <p:spPr>
            <a:xfrm flipH="1">
              <a:off x="9000066" y="3836978"/>
              <a:ext cx="143934" cy="1306521"/>
            </a:xfrm>
            <a:prstGeom prst="rect">
              <a:avLst/>
            </a:prstGeom>
            <a:solidFill>
              <a:srgbClr val="3EBF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30935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19" y="379333"/>
            <a:ext cx="11593215" cy="10291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761160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_str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19" y="379333"/>
            <a:ext cx="11593215" cy="10291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562CDC-09CB-4326-A46B-75303AE7CD18}"/>
              </a:ext>
            </a:extLst>
          </p:cNvPr>
          <p:cNvGrpSpPr/>
          <p:nvPr/>
        </p:nvGrpSpPr>
        <p:grpSpPr>
          <a:xfrm>
            <a:off x="12000088" y="1"/>
            <a:ext cx="191912" cy="6857999"/>
            <a:chOff x="9000066" y="0"/>
            <a:chExt cx="143934" cy="51434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20F6F2F-E353-491E-9D0B-D0B67CE85BEC}"/>
                </a:ext>
              </a:extLst>
            </p:cNvPr>
            <p:cNvSpPr/>
            <p:nvPr/>
          </p:nvSpPr>
          <p:spPr>
            <a:xfrm flipH="1">
              <a:off x="9000066" y="0"/>
              <a:ext cx="143934" cy="2586681"/>
            </a:xfrm>
            <a:prstGeom prst="rect">
              <a:avLst/>
            </a:prstGeom>
            <a:solidFill>
              <a:srgbClr val="003C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506711A-909C-4E08-AA92-B19F65D86407}"/>
                </a:ext>
              </a:extLst>
            </p:cNvPr>
            <p:cNvSpPr/>
            <p:nvPr/>
          </p:nvSpPr>
          <p:spPr>
            <a:xfrm flipH="1">
              <a:off x="9000066" y="1280160"/>
              <a:ext cx="143934" cy="1306521"/>
            </a:xfrm>
            <a:prstGeom prst="rect">
              <a:avLst/>
            </a:prstGeom>
            <a:solidFill>
              <a:srgbClr val="009B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3577531-69A3-443A-82B0-09E32B503F10}"/>
                </a:ext>
              </a:extLst>
            </p:cNvPr>
            <p:cNvSpPr/>
            <p:nvPr/>
          </p:nvSpPr>
          <p:spPr>
            <a:xfrm flipH="1">
              <a:off x="9000066" y="2558569"/>
              <a:ext cx="143934" cy="1306521"/>
            </a:xfrm>
            <a:prstGeom prst="rect">
              <a:avLst/>
            </a:prstGeom>
            <a:solidFill>
              <a:srgbClr val="AA1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6C559F-FD24-4DD9-8176-864DC15FDE1A}"/>
                </a:ext>
              </a:extLst>
            </p:cNvPr>
            <p:cNvSpPr/>
            <p:nvPr/>
          </p:nvSpPr>
          <p:spPr>
            <a:xfrm flipH="1">
              <a:off x="9000066" y="3836978"/>
              <a:ext cx="143934" cy="1306521"/>
            </a:xfrm>
            <a:prstGeom prst="rect">
              <a:avLst/>
            </a:prstGeom>
            <a:solidFill>
              <a:srgbClr val="3EBF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9754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74505" y="1856811"/>
            <a:ext cx="7351896" cy="1539876"/>
          </a:xfrm>
        </p:spPr>
        <p:txBody>
          <a:bodyPr anchor="b">
            <a:normAutofit/>
          </a:bodyPr>
          <a:lstStyle>
            <a:lvl1pPr algn="l">
              <a:defRPr sz="37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74505" y="3483469"/>
            <a:ext cx="4727787" cy="722513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sp>
        <p:nvSpPr>
          <p:cNvPr id="10" name="TextBox 9"/>
          <p:cNvSpPr txBox="1"/>
          <p:nvPr/>
        </p:nvSpPr>
        <p:spPr>
          <a:xfrm>
            <a:off x="7376161" y="428121"/>
            <a:ext cx="419055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67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Designing a Smoke-Free Future</a:t>
            </a:r>
          </a:p>
        </p:txBody>
      </p:sp>
      <p:pic>
        <p:nvPicPr>
          <p:cNvPr id="8" name="Picture 7" descr="PMI_Semi-horizonal_Whit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31" y="340053"/>
            <a:ext cx="2738115" cy="62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2402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19" y="379333"/>
            <a:ext cx="11593216" cy="10291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824654" y="1422002"/>
            <a:ext cx="5162973" cy="46381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22002"/>
            <a:ext cx="5162973" cy="46381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89538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_str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19" y="379333"/>
            <a:ext cx="11593216" cy="10291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824654" y="1422002"/>
            <a:ext cx="5162973" cy="46381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22002"/>
            <a:ext cx="5162973" cy="46381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55D0B82-0A63-4D4C-8AF7-C79792A68C4A}"/>
              </a:ext>
            </a:extLst>
          </p:cNvPr>
          <p:cNvGrpSpPr/>
          <p:nvPr/>
        </p:nvGrpSpPr>
        <p:grpSpPr>
          <a:xfrm>
            <a:off x="12000088" y="1"/>
            <a:ext cx="191912" cy="6857999"/>
            <a:chOff x="9000066" y="0"/>
            <a:chExt cx="143934" cy="514349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7CC3C02-04A4-4CF1-9A0D-0CC1BED73BFF}"/>
                </a:ext>
              </a:extLst>
            </p:cNvPr>
            <p:cNvSpPr/>
            <p:nvPr/>
          </p:nvSpPr>
          <p:spPr>
            <a:xfrm flipH="1">
              <a:off x="9000066" y="0"/>
              <a:ext cx="143934" cy="2586681"/>
            </a:xfrm>
            <a:prstGeom prst="rect">
              <a:avLst/>
            </a:prstGeom>
            <a:solidFill>
              <a:srgbClr val="003C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DD01AB6-2F35-436F-B1C8-838445DBC24A}"/>
                </a:ext>
              </a:extLst>
            </p:cNvPr>
            <p:cNvSpPr/>
            <p:nvPr/>
          </p:nvSpPr>
          <p:spPr>
            <a:xfrm flipH="1">
              <a:off x="9000066" y="1280160"/>
              <a:ext cx="143934" cy="1306521"/>
            </a:xfrm>
            <a:prstGeom prst="rect">
              <a:avLst/>
            </a:prstGeom>
            <a:solidFill>
              <a:srgbClr val="009B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FE3B450-5372-44DC-8B57-7D39DBF276E4}"/>
                </a:ext>
              </a:extLst>
            </p:cNvPr>
            <p:cNvSpPr/>
            <p:nvPr/>
          </p:nvSpPr>
          <p:spPr>
            <a:xfrm flipH="1">
              <a:off x="9000066" y="2558569"/>
              <a:ext cx="143934" cy="1306521"/>
            </a:xfrm>
            <a:prstGeom prst="rect">
              <a:avLst/>
            </a:prstGeom>
            <a:solidFill>
              <a:srgbClr val="AA1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090D630-2A6C-48D8-9A88-65A2A758853F}"/>
                </a:ext>
              </a:extLst>
            </p:cNvPr>
            <p:cNvSpPr/>
            <p:nvPr/>
          </p:nvSpPr>
          <p:spPr>
            <a:xfrm flipH="1">
              <a:off x="9000066" y="3836978"/>
              <a:ext cx="143934" cy="1306521"/>
            </a:xfrm>
            <a:prstGeom prst="rect">
              <a:avLst/>
            </a:prstGeom>
            <a:solidFill>
              <a:srgbClr val="3EBF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03886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with sub-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20" y="379732"/>
            <a:ext cx="11515963" cy="10314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418590"/>
            <a:ext cx="5158316" cy="669113"/>
          </a:xfrm>
        </p:spPr>
        <p:txBody>
          <a:bodyPr anchor="b">
            <a:normAutofit/>
          </a:bodyPr>
          <a:lstStyle>
            <a:lvl1pPr marL="0" indent="0">
              <a:buNone/>
              <a:defRPr sz="1300" b="1" i="1">
                <a:solidFill>
                  <a:srgbClr val="404040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176355"/>
            <a:ext cx="5158316" cy="3892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418590"/>
            <a:ext cx="5183717" cy="669113"/>
          </a:xfrm>
        </p:spPr>
        <p:txBody>
          <a:bodyPr anchor="b">
            <a:normAutofit/>
          </a:bodyPr>
          <a:lstStyle>
            <a:lvl1pPr marL="0" indent="0">
              <a:buNone/>
              <a:defRPr sz="1300" b="1" i="1">
                <a:solidFill>
                  <a:srgbClr val="404040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176355"/>
            <a:ext cx="5183717" cy="3892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434925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with sub-headers_str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20" y="379732"/>
            <a:ext cx="11515963" cy="10314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418590"/>
            <a:ext cx="5158316" cy="669113"/>
          </a:xfrm>
        </p:spPr>
        <p:txBody>
          <a:bodyPr anchor="b">
            <a:normAutofit/>
          </a:bodyPr>
          <a:lstStyle>
            <a:lvl1pPr marL="0" indent="0">
              <a:buNone/>
              <a:defRPr sz="1300" b="1" i="1">
                <a:solidFill>
                  <a:srgbClr val="404040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176355"/>
            <a:ext cx="5158316" cy="3892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418590"/>
            <a:ext cx="5183717" cy="669113"/>
          </a:xfrm>
        </p:spPr>
        <p:txBody>
          <a:bodyPr anchor="b">
            <a:normAutofit/>
          </a:bodyPr>
          <a:lstStyle>
            <a:lvl1pPr marL="0" indent="0">
              <a:buNone/>
              <a:defRPr sz="1300" b="1" i="1">
                <a:solidFill>
                  <a:srgbClr val="404040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176355"/>
            <a:ext cx="5183717" cy="3892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E29EFB5-91CF-4612-ABBA-1FF5B14B29B3}"/>
              </a:ext>
            </a:extLst>
          </p:cNvPr>
          <p:cNvGrpSpPr/>
          <p:nvPr/>
        </p:nvGrpSpPr>
        <p:grpSpPr>
          <a:xfrm>
            <a:off x="12000088" y="1"/>
            <a:ext cx="191912" cy="6857999"/>
            <a:chOff x="9000066" y="0"/>
            <a:chExt cx="143934" cy="514349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29214F-1AD4-425F-BE1A-11272EA2B138}"/>
                </a:ext>
              </a:extLst>
            </p:cNvPr>
            <p:cNvSpPr/>
            <p:nvPr/>
          </p:nvSpPr>
          <p:spPr>
            <a:xfrm flipH="1">
              <a:off x="9000066" y="0"/>
              <a:ext cx="143934" cy="2586681"/>
            </a:xfrm>
            <a:prstGeom prst="rect">
              <a:avLst/>
            </a:prstGeom>
            <a:solidFill>
              <a:srgbClr val="003C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EAACB03-BC72-42F3-B908-3E985AD22B01}"/>
                </a:ext>
              </a:extLst>
            </p:cNvPr>
            <p:cNvSpPr/>
            <p:nvPr/>
          </p:nvSpPr>
          <p:spPr>
            <a:xfrm flipH="1">
              <a:off x="9000066" y="1280160"/>
              <a:ext cx="143934" cy="1306521"/>
            </a:xfrm>
            <a:prstGeom prst="rect">
              <a:avLst/>
            </a:prstGeom>
            <a:solidFill>
              <a:srgbClr val="009B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9EB9CC7-0598-42D4-B650-D3F45EC0B741}"/>
                </a:ext>
              </a:extLst>
            </p:cNvPr>
            <p:cNvSpPr/>
            <p:nvPr/>
          </p:nvSpPr>
          <p:spPr>
            <a:xfrm flipH="1">
              <a:off x="9000066" y="2558569"/>
              <a:ext cx="143934" cy="1306521"/>
            </a:xfrm>
            <a:prstGeom prst="rect">
              <a:avLst/>
            </a:prstGeom>
            <a:solidFill>
              <a:srgbClr val="AA1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18E4ADE-E0E7-46E8-A066-BF42209EFB40}"/>
                </a:ext>
              </a:extLst>
            </p:cNvPr>
            <p:cNvSpPr/>
            <p:nvPr/>
          </p:nvSpPr>
          <p:spPr>
            <a:xfrm flipH="1">
              <a:off x="9000066" y="3836978"/>
              <a:ext cx="143934" cy="1306521"/>
            </a:xfrm>
            <a:prstGeom prst="rect">
              <a:avLst/>
            </a:prstGeom>
            <a:solidFill>
              <a:srgbClr val="3EBF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79983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20" y="379333"/>
            <a:ext cx="11594569" cy="10291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070211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str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20" y="379333"/>
            <a:ext cx="11594569" cy="10291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94DE122-F2C6-46B0-AE04-0192782A20CA}"/>
              </a:ext>
            </a:extLst>
          </p:cNvPr>
          <p:cNvGrpSpPr/>
          <p:nvPr/>
        </p:nvGrpSpPr>
        <p:grpSpPr>
          <a:xfrm>
            <a:off x="12000088" y="1"/>
            <a:ext cx="191912" cy="6857999"/>
            <a:chOff x="9000066" y="0"/>
            <a:chExt cx="143934" cy="514349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75946-6714-4C52-ACAC-BF7D897C7F3B}"/>
                </a:ext>
              </a:extLst>
            </p:cNvPr>
            <p:cNvSpPr/>
            <p:nvPr/>
          </p:nvSpPr>
          <p:spPr>
            <a:xfrm flipH="1">
              <a:off x="9000066" y="0"/>
              <a:ext cx="143934" cy="2586681"/>
            </a:xfrm>
            <a:prstGeom prst="rect">
              <a:avLst/>
            </a:prstGeom>
            <a:solidFill>
              <a:srgbClr val="003C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C6CE7F7-F6FA-48D0-975F-2516BFB63445}"/>
                </a:ext>
              </a:extLst>
            </p:cNvPr>
            <p:cNvSpPr/>
            <p:nvPr/>
          </p:nvSpPr>
          <p:spPr>
            <a:xfrm flipH="1">
              <a:off x="9000066" y="1280160"/>
              <a:ext cx="143934" cy="1306521"/>
            </a:xfrm>
            <a:prstGeom prst="rect">
              <a:avLst/>
            </a:prstGeom>
            <a:solidFill>
              <a:srgbClr val="009B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2ACE27E-9656-43A9-9562-10BADAB70F61}"/>
                </a:ext>
              </a:extLst>
            </p:cNvPr>
            <p:cNvSpPr/>
            <p:nvPr/>
          </p:nvSpPr>
          <p:spPr>
            <a:xfrm flipH="1">
              <a:off x="9000066" y="2558569"/>
              <a:ext cx="143934" cy="1306521"/>
            </a:xfrm>
            <a:prstGeom prst="rect">
              <a:avLst/>
            </a:prstGeom>
            <a:solidFill>
              <a:srgbClr val="AA1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2615F8C-F051-4048-9408-433DE859DB8F}"/>
                </a:ext>
              </a:extLst>
            </p:cNvPr>
            <p:cNvSpPr/>
            <p:nvPr/>
          </p:nvSpPr>
          <p:spPr>
            <a:xfrm flipH="1">
              <a:off x="9000066" y="3836978"/>
              <a:ext cx="143934" cy="1306521"/>
            </a:xfrm>
            <a:prstGeom prst="rect">
              <a:avLst/>
            </a:prstGeom>
            <a:solidFill>
              <a:srgbClr val="3EBF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7273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167722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str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E240C90-EB6E-47DE-8664-538CC9E6AA68}"/>
              </a:ext>
            </a:extLst>
          </p:cNvPr>
          <p:cNvGrpSpPr/>
          <p:nvPr/>
        </p:nvGrpSpPr>
        <p:grpSpPr>
          <a:xfrm>
            <a:off x="12000088" y="1"/>
            <a:ext cx="191912" cy="6857999"/>
            <a:chOff x="9000066" y="0"/>
            <a:chExt cx="143934" cy="514349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C33B321-5C63-45B6-818C-CC9457681470}"/>
                </a:ext>
              </a:extLst>
            </p:cNvPr>
            <p:cNvSpPr/>
            <p:nvPr/>
          </p:nvSpPr>
          <p:spPr>
            <a:xfrm flipH="1">
              <a:off x="9000066" y="0"/>
              <a:ext cx="143934" cy="2586681"/>
            </a:xfrm>
            <a:prstGeom prst="rect">
              <a:avLst/>
            </a:prstGeom>
            <a:solidFill>
              <a:srgbClr val="003C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5DAC4E7-7027-4C6F-999A-9B8274FE90EA}"/>
                </a:ext>
              </a:extLst>
            </p:cNvPr>
            <p:cNvSpPr/>
            <p:nvPr/>
          </p:nvSpPr>
          <p:spPr>
            <a:xfrm flipH="1">
              <a:off x="9000066" y="1280160"/>
              <a:ext cx="143934" cy="1306521"/>
            </a:xfrm>
            <a:prstGeom prst="rect">
              <a:avLst/>
            </a:prstGeom>
            <a:solidFill>
              <a:srgbClr val="009B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3D09658-4354-42CF-988D-B8A3BCB32E3D}"/>
                </a:ext>
              </a:extLst>
            </p:cNvPr>
            <p:cNvSpPr/>
            <p:nvPr/>
          </p:nvSpPr>
          <p:spPr>
            <a:xfrm flipH="1">
              <a:off x="9000066" y="2558569"/>
              <a:ext cx="143934" cy="1306521"/>
            </a:xfrm>
            <a:prstGeom prst="rect">
              <a:avLst/>
            </a:prstGeom>
            <a:solidFill>
              <a:srgbClr val="AA1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BFCD301-BA2D-4AC1-AEE9-9529BF5BB00A}"/>
                </a:ext>
              </a:extLst>
            </p:cNvPr>
            <p:cNvSpPr/>
            <p:nvPr/>
          </p:nvSpPr>
          <p:spPr>
            <a:xfrm flipH="1">
              <a:off x="9000066" y="3836978"/>
              <a:ext cx="143934" cy="1306521"/>
            </a:xfrm>
            <a:prstGeom prst="rect">
              <a:avLst/>
            </a:prstGeom>
            <a:solidFill>
              <a:srgbClr val="3EBF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28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53442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to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sp>
        <p:nvSpPr>
          <p:cNvPr id="5" name="Rectangle 4"/>
          <p:cNvSpPr/>
          <p:nvPr/>
        </p:nvSpPr>
        <p:spPr>
          <a:xfrm>
            <a:off x="129915" y="6155960"/>
            <a:ext cx="789483" cy="5715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66809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38714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46763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6185"/>
            <a:ext cx="2628900" cy="581024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6185"/>
            <a:ext cx="7683500" cy="581024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349162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C64C5DF-1917-40EA-9AE5-6EDAF2BE86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74505" y="1856811"/>
            <a:ext cx="7351896" cy="3074176"/>
          </a:xfrm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6070325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A picture containing dark, sitting, orange, black&#10;&#10;Description automatically generated">
            <a:extLst>
              <a:ext uri="{FF2B5EF4-FFF2-40B4-BE49-F238E27FC236}">
                <a16:creationId xmlns:a16="http://schemas.microsoft.com/office/drawing/2014/main" id="{D3DCDA97-C029-4134-9572-052A21A4F78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7708" y="249525"/>
            <a:ext cx="7053096" cy="990651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2264" y="1436160"/>
            <a:ext cx="7744749" cy="2264833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2264" y="3781426"/>
            <a:ext cx="7744749" cy="10033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92DAF6-5DFE-5549-9CDC-7BD05F3B2F2E}"/>
              </a:ext>
            </a:extLst>
          </p:cNvPr>
          <p:cNvSpPr txBox="1"/>
          <p:nvPr/>
        </p:nvSpPr>
        <p:spPr>
          <a:xfrm>
            <a:off x="7947189" y="464080"/>
            <a:ext cx="3788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0">
                <a:latin typeface="Lato Light" panose="020F0302020204030203" pitchFamily="34" charset="77"/>
              </a:rPr>
              <a:t>Delivering a Smoke-Free Future</a:t>
            </a:r>
          </a:p>
        </p:txBody>
      </p:sp>
    </p:spTree>
    <p:extLst>
      <p:ext uri="{BB962C8B-B14F-4D97-AF65-F5344CB8AC3E}">
        <p14:creationId xmlns:p14="http://schemas.microsoft.com/office/powerpoint/2010/main" val="34114734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5119" y="379333"/>
            <a:ext cx="11593215" cy="102912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3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238469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Section Brea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4293" y="2443527"/>
            <a:ext cx="7247467" cy="2853267"/>
          </a:xfrm>
        </p:spPr>
        <p:txBody>
          <a:bodyPr anchor="ctr">
            <a:normAutofit/>
          </a:bodyPr>
          <a:lstStyle>
            <a:lvl1pPr algn="r">
              <a:defRPr sz="2800"/>
            </a:lvl1pPr>
          </a:lstStyle>
          <a:p>
            <a:r>
              <a:rPr lang="en-US"/>
              <a:t>Click to edit Section Break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162493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Section Break_altarnativ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2443527"/>
            <a:ext cx="7247467" cy="2853267"/>
          </a:xfrm>
        </p:spPr>
        <p:txBody>
          <a:bodyPr anchor="ctr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Break title</a:t>
            </a:r>
          </a:p>
        </p:txBody>
      </p:sp>
    </p:spTree>
    <p:extLst>
      <p:ext uri="{BB962C8B-B14F-4D97-AF65-F5344CB8AC3E}">
        <p14:creationId xmlns:p14="http://schemas.microsoft.com/office/powerpoint/2010/main" val="18344714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19" y="379333"/>
            <a:ext cx="11593215" cy="1029123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958683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19" y="386986"/>
            <a:ext cx="11593215" cy="10291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7888" y="1416108"/>
            <a:ext cx="4156489" cy="4452411"/>
          </a:xfrm>
        </p:spPr>
        <p:txBody>
          <a:bodyPr/>
          <a:lstStyle>
            <a:lvl2pPr>
              <a:defRPr sz="1467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sp>
        <p:nvSpPr>
          <p:cNvPr id="7" name="Picture Placeholder 2"/>
          <p:cNvSpPr>
            <a:spLocks noGrp="1"/>
          </p:cNvSpPr>
          <p:nvPr>
            <p:ph type="pic" idx="13"/>
          </p:nvPr>
        </p:nvSpPr>
        <p:spPr>
          <a:xfrm>
            <a:off x="5181600" y="1416109"/>
            <a:ext cx="6172200" cy="4452409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144890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19" y="379333"/>
            <a:ext cx="11593216" cy="10291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5135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824654" y="1422002"/>
            <a:ext cx="5162973" cy="46381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22002"/>
            <a:ext cx="5162973" cy="46381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47564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with sub-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20" y="379732"/>
            <a:ext cx="11515963" cy="10314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418590"/>
            <a:ext cx="5158316" cy="669113"/>
          </a:xfrm>
        </p:spPr>
        <p:txBody>
          <a:bodyPr anchor="b">
            <a:normAutofit/>
          </a:bodyPr>
          <a:lstStyle>
            <a:lvl1pPr marL="0" indent="0">
              <a:buNone/>
              <a:defRPr sz="1300" b="1" i="1">
                <a:solidFill>
                  <a:srgbClr val="404040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176355"/>
            <a:ext cx="5158316" cy="3892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418590"/>
            <a:ext cx="5183717" cy="669113"/>
          </a:xfrm>
        </p:spPr>
        <p:txBody>
          <a:bodyPr anchor="b">
            <a:normAutofit/>
          </a:bodyPr>
          <a:lstStyle>
            <a:lvl1pPr marL="0" indent="0">
              <a:buNone/>
              <a:defRPr sz="1300" b="1" i="1">
                <a:solidFill>
                  <a:srgbClr val="404040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176355"/>
            <a:ext cx="5183717" cy="3892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427343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MI_PowerPoint_Side_bar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9787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 flipH="1">
            <a:off x="1" y="0"/>
            <a:ext cx="5174512" cy="6858000"/>
          </a:xfrm>
          <a:prstGeom prst="rect">
            <a:avLst/>
          </a:prstGeom>
          <a:solidFill>
            <a:srgbClr val="F0F5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0F5F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773" y="2443527"/>
            <a:ext cx="4199467" cy="2853267"/>
          </a:xfr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75949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120" y="379333"/>
            <a:ext cx="11594569" cy="10291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125364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454460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to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sp>
        <p:nvSpPr>
          <p:cNvPr id="5" name="Rectangle 4"/>
          <p:cNvSpPr/>
          <p:nvPr/>
        </p:nvSpPr>
        <p:spPr>
          <a:xfrm>
            <a:off x="129915" y="6155960"/>
            <a:ext cx="789483" cy="5715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40613551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405147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6185"/>
            <a:ext cx="2628900" cy="581024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6185"/>
            <a:ext cx="7683500" cy="581024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6489" y="6361287"/>
            <a:ext cx="2743200" cy="366183"/>
          </a:xfrm>
        </p:spPr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312220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2443527"/>
            <a:ext cx="7247467" cy="2853267"/>
          </a:xfrm>
        </p:spPr>
        <p:txBody>
          <a:bodyPr anchor="ctr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Break title</a:t>
            </a:r>
          </a:p>
        </p:txBody>
      </p:sp>
    </p:spTree>
    <p:extLst>
      <p:ext uri="{BB962C8B-B14F-4D97-AF65-F5344CB8AC3E}">
        <p14:creationId xmlns:p14="http://schemas.microsoft.com/office/powerpoint/2010/main" val="15016641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11676185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8F8F8"/>
              </a:solidFill>
              <a:ea typeface="ＭＳ Ｐゴシック" pitchFamily="34" charset="-128"/>
            </a:endParaRPr>
          </a:p>
        </p:txBody>
      </p:sp>
      <p:sp>
        <p:nvSpPr>
          <p:cNvPr id="66560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5452" y="3082925"/>
            <a:ext cx="10077449" cy="1008063"/>
          </a:xfrm>
        </p:spPr>
        <p:txBody>
          <a:bodyPr lIns="90000" rIns="90000" anchor="t"/>
          <a:lstStyle>
            <a:lvl1pPr>
              <a:defRPr sz="2800"/>
            </a:lvl1pPr>
          </a:lstStyle>
          <a:p>
            <a:pPr lvl="0"/>
            <a:r>
              <a:rPr lang="en-US" noProof="0" err="1"/>
              <a:t>Cliquez</a:t>
            </a:r>
            <a:r>
              <a:rPr lang="en-US" noProof="0"/>
              <a:t> pour modifier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665605" name="Rectangle 5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452" y="4394201"/>
            <a:ext cx="10077449" cy="1800225"/>
          </a:xfrm>
        </p:spPr>
        <p:txBody>
          <a:bodyPr lIns="91440" rIns="91440"/>
          <a:lstStyle>
            <a:lvl1pPr marL="0" indent="0">
              <a:buFont typeface="Arial" charset="0"/>
              <a:buNone/>
              <a:defRPr/>
            </a:lvl1pPr>
          </a:lstStyle>
          <a:p>
            <a:pPr lvl="0"/>
            <a:r>
              <a:rPr lang="en-US" noProof="0" err="1"/>
              <a:t>Cliquez</a:t>
            </a:r>
            <a:r>
              <a:rPr lang="en-US" noProof="0"/>
              <a:t> pour modifier le style des sous-</a:t>
            </a:r>
            <a:r>
              <a:rPr lang="en-US" noProof="0" err="1"/>
              <a:t>titres</a:t>
            </a:r>
            <a:r>
              <a:rPr lang="en-US" noProof="0"/>
              <a:t> du masque</a:t>
            </a:r>
          </a:p>
        </p:txBody>
      </p:sp>
      <p:pic>
        <p:nvPicPr>
          <p:cNvPr id="665607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08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OO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2" y="410368"/>
            <a:ext cx="5262563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9775806"/>
      </p:ext>
    </p:extLst>
  </p:cSld>
  <p:clrMapOvr>
    <a:masterClrMapping/>
  </p:clrMapOvr>
  <p:transition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253278"/>
      </p:ext>
    </p:extLst>
  </p:cSld>
  <p:clrMapOvr>
    <a:masterClrMapping/>
  </p:clrMapOvr>
  <p:transition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278977"/>
      </p:ext>
    </p:extLst>
  </p:cSld>
  <p:clrMapOvr>
    <a:masterClrMapping/>
  </p:clrMapOvr>
  <p:transition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3117" y="1314451"/>
            <a:ext cx="5486400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72717" y="1314451"/>
            <a:ext cx="5486400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036301" y="6369051"/>
            <a:ext cx="742951" cy="360363"/>
          </a:xfrm>
        </p:spPr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51324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666241"/>
            <a:ext cx="5162973" cy="45237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66241"/>
            <a:ext cx="5162973" cy="45237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276313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383117" y="1314451"/>
            <a:ext cx="5486400" cy="481171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2" hasCustomPrompt="1"/>
          </p:nvPr>
        </p:nvSpPr>
        <p:spPr>
          <a:xfrm>
            <a:off x="60727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3" hasCustomPrompt="1"/>
          </p:nvPr>
        </p:nvSpPr>
        <p:spPr>
          <a:xfrm>
            <a:off x="60727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036301" y="6369051"/>
            <a:ext cx="742951" cy="360363"/>
          </a:xfrm>
        </p:spPr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7534"/>
      </p:ext>
    </p:extLst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3BDFAFCF-1FCC-4AE6-9C9D-0BCDBE85002D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6072717" y="1314451"/>
            <a:ext cx="5486400" cy="481171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831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3831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0223058"/>
      </p:ext>
    </p:extLst>
  </p:cSld>
  <p:clrMapOvr>
    <a:masterClrMapping/>
  </p:clrMapOvr>
  <p:transition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3118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174403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7972401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036301" y="6369051"/>
            <a:ext cx="742951" cy="360363"/>
          </a:xfrm>
        </p:spPr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522399"/>
      </p:ext>
    </p:extLst>
  </p:cSld>
  <p:clrMapOvr>
    <a:masterClrMapping/>
  </p:clrMapOvr>
  <p:transition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2" hasCustomPrompt="1"/>
          </p:nvPr>
        </p:nvSpPr>
        <p:spPr>
          <a:xfrm>
            <a:off x="60727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3" hasCustomPrompt="1"/>
          </p:nvPr>
        </p:nvSpPr>
        <p:spPr>
          <a:xfrm>
            <a:off x="60727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831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3831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036301" y="6369051"/>
            <a:ext cx="742951" cy="360363"/>
          </a:xfrm>
        </p:spPr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55664"/>
      </p:ext>
    </p:extLst>
  </p:cSld>
  <p:clrMapOvr>
    <a:masterClrMapping/>
  </p:clrMapOvr>
  <p:transition>
    <p:wipe dir="r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91ADCC1-8B6D-4CE0-AF36-E376E64BD8FA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703170"/>
      </p:ext>
    </p:extLst>
  </p:cSld>
  <p:clrMapOvr>
    <a:masterClrMapping/>
  </p:clrMapOvr>
  <p:transition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036301" y="6369051"/>
            <a:ext cx="742951" cy="360363"/>
          </a:xfrm>
        </p:spPr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974947"/>
      </p:ext>
    </p:extLst>
  </p:cSld>
  <p:clrMapOvr>
    <a:masterClrMapping/>
  </p:clrMapOvr>
  <p:transition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11676185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8F8F8"/>
              </a:solidFill>
              <a:ea typeface="ＭＳ Ｐゴシック" pitchFamily="34" charset="-128"/>
            </a:endParaRPr>
          </a:p>
        </p:txBody>
      </p:sp>
      <p:sp>
        <p:nvSpPr>
          <p:cNvPr id="66560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5452" y="3082925"/>
            <a:ext cx="10077449" cy="1008063"/>
          </a:xfrm>
        </p:spPr>
        <p:txBody>
          <a:bodyPr lIns="90000" rIns="90000" anchor="t"/>
          <a:lstStyle>
            <a:lvl1pPr>
              <a:defRPr sz="2800"/>
            </a:lvl1pPr>
          </a:lstStyle>
          <a:p>
            <a:pPr lvl="0"/>
            <a:r>
              <a:rPr lang="en-US" noProof="0" err="1"/>
              <a:t>Cliquez</a:t>
            </a:r>
            <a:r>
              <a:rPr lang="en-US" noProof="0"/>
              <a:t> pour modifier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665605" name="Rectangle 5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452" y="4394201"/>
            <a:ext cx="10077449" cy="1800225"/>
          </a:xfrm>
        </p:spPr>
        <p:txBody>
          <a:bodyPr lIns="91440" rIns="91440"/>
          <a:lstStyle>
            <a:lvl1pPr marL="0" indent="0">
              <a:buFont typeface="Arial" charset="0"/>
              <a:buNone/>
              <a:defRPr/>
            </a:lvl1pPr>
          </a:lstStyle>
          <a:p>
            <a:pPr lvl="0"/>
            <a:r>
              <a:rPr lang="en-US" noProof="0" err="1"/>
              <a:t>Cliquez</a:t>
            </a:r>
            <a:r>
              <a:rPr lang="en-US" noProof="0"/>
              <a:t> pour modifier le style des sous-</a:t>
            </a:r>
            <a:r>
              <a:rPr lang="en-US" noProof="0" err="1"/>
              <a:t>titres</a:t>
            </a:r>
            <a:r>
              <a:rPr lang="en-US" noProof="0"/>
              <a:t> du masque</a:t>
            </a:r>
          </a:p>
        </p:txBody>
      </p:sp>
      <p:pic>
        <p:nvPicPr>
          <p:cNvPr id="665607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08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OOO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2" y="410368"/>
            <a:ext cx="5262563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2620855"/>
      </p:ext>
    </p:extLst>
  </p:cSld>
  <p:clrMapOvr>
    <a:masterClrMapping/>
  </p:clrMapOvr>
  <p:transition>
    <p:wipe dir="r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565470"/>
      </p:ext>
    </p:extLst>
  </p:cSld>
  <p:clrMapOvr>
    <a:masterClrMapping/>
  </p:clrMapOvr>
  <p:transition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929451"/>
      </p:ext>
    </p:extLst>
  </p:cSld>
  <p:clrMapOvr>
    <a:masterClrMapping/>
  </p:clrMapOvr>
  <p:transition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426144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4002995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3117" y="1314451"/>
            <a:ext cx="5486400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72717" y="1314451"/>
            <a:ext cx="5486400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036301" y="6369051"/>
            <a:ext cx="742951" cy="360363"/>
          </a:xfrm>
        </p:spPr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817262"/>
      </p:ext>
    </p:extLst>
  </p:cSld>
  <p:clrMapOvr>
    <a:masterClrMapping/>
  </p:clrMapOvr>
  <p:transition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383117" y="1314451"/>
            <a:ext cx="5486400" cy="481171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2" hasCustomPrompt="1"/>
          </p:nvPr>
        </p:nvSpPr>
        <p:spPr>
          <a:xfrm>
            <a:off x="60727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3" hasCustomPrompt="1"/>
          </p:nvPr>
        </p:nvSpPr>
        <p:spPr>
          <a:xfrm>
            <a:off x="60727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036301" y="6369051"/>
            <a:ext cx="742951" cy="360363"/>
          </a:xfrm>
        </p:spPr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51783"/>
      </p:ext>
    </p:extLst>
  </p:cSld>
  <p:clrMapOvr>
    <a:masterClrMapping/>
  </p:clrMapOvr>
  <p:transition>
    <p:wipe dir="r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3BDFAFCF-1FCC-4AE6-9C9D-0BCDBE85002D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6072717" y="1314451"/>
            <a:ext cx="5486400" cy="481171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831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3831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9533429"/>
      </p:ext>
    </p:extLst>
  </p:cSld>
  <p:clrMapOvr>
    <a:masterClrMapping/>
  </p:clrMapOvr>
  <p:transition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3118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174403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7972401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036301" y="6369051"/>
            <a:ext cx="742951" cy="360363"/>
          </a:xfrm>
        </p:spPr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693046"/>
      </p:ext>
    </p:extLst>
  </p:cSld>
  <p:clrMapOvr>
    <a:masterClrMapping/>
  </p:clrMapOvr>
  <p:transition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2" hasCustomPrompt="1"/>
          </p:nvPr>
        </p:nvSpPr>
        <p:spPr>
          <a:xfrm>
            <a:off x="60727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3" hasCustomPrompt="1"/>
          </p:nvPr>
        </p:nvSpPr>
        <p:spPr>
          <a:xfrm>
            <a:off x="60727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831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3831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036301" y="6369051"/>
            <a:ext cx="742951" cy="360363"/>
          </a:xfrm>
        </p:spPr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868103"/>
      </p:ext>
    </p:extLst>
  </p:cSld>
  <p:clrMapOvr>
    <a:masterClrMapping/>
  </p:clrMapOvr>
  <p:transition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91ADCC1-8B6D-4CE0-AF36-E376E64BD8FA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499356"/>
      </p:ext>
    </p:extLst>
  </p:cSld>
  <p:clrMapOvr>
    <a:masterClrMapping/>
  </p:clrMapOvr>
  <p:transition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036301" y="6369051"/>
            <a:ext cx="742951" cy="360363"/>
          </a:xfrm>
        </p:spPr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en-US" smtClean="0">
                <a:solidFill>
                  <a:srgbClr val="0067B1"/>
                </a:solidFill>
              </a:rPr>
              <a:pPr/>
              <a:t>‹#›</a:t>
            </a:fld>
            <a:endParaRPr lang="en-US">
              <a:solidFill>
                <a:srgbClr val="0067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687146"/>
      </p:ext>
    </p:extLst>
  </p:cSld>
  <p:clrMapOvr>
    <a:masterClrMapping/>
  </p:clrMapOvr>
  <p:transition>
    <p:wipe dir="r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0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425453" y="3082925"/>
            <a:ext cx="10077449" cy="1008063"/>
          </a:xfrm>
        </p:spPr>
        <p:txBody>
          <a:bodyPr lIns="90000" rIns="90000" anchor="t"/>
          <a:lstStyle>
            <a:lvl1pPr>
              <a:defRPr sz="2800"/>
            </a:lvl1pPr>
          </a:lstStyle>
          <a:p>
            <a:pPr lvl="0"/>
            <a:r>
              <a:rPr lang="fr-FR" noProof="0"/>
              <a:t>Cliquez pour modifier le style du titre</a:t>
            </a:r>
          </a:p>
        </p:txBody>
      </p:sp>
      <p:sp>
        <p:nvSpPr>
          <p:cNvPr id="66560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425453" y="4394202"/>
            <a:ext cx="10077449" cy="1800225"/>
          </a:xfrm>
        </p:spPr>
        <p:txBody>
          <a:bodyPr lIns="91440" rIns="91440"/>
          <a:lstStyle>
            <a:lvl1pPr marL="0" indent="0">
              <a:buFont typeface="Arial" charset="0"/>
              <a:buNone/>
              <a:defRPr/>
            </a:lvl1pPr>
          </a:lstStyle>
          <a:p>
            <a:pPr lvl="0"/>
            <a:r>
              <a:rPr lang="fr-FR" noProof="0"/>
              <a:t>Cliquez pour modifier le style des sous-titres du masque</a:t>
            </a:r>
          </a:p>
        </p:txBody>
      </p:sp>
      <p:pic>
        <p:nvPicPr>
          <p:cNvPr id="665607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08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OO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3" y="1483285"/>
            <a:ext cx="5262563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9430825"/>
      </p:ext>
    </p:extLst>
  </p:cSld>
  <p:clrMapOvr>
    <a:masterClrMapping/>
  </p:clrMapOvr>
  <p:transition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fr-FR" smtClean="0">
                <a:solidFill>
                  <a:srgbClr val="0067B1"/>
                </a:solidFill>
              </a:rPr>
              <a:pPr/>
              <a:t>‹#›</a:t>
            </a:fld>
            <a:endParaRPr lang="fr-FR">
              <a:solidFill>
                <a:srgbClr val="0067B1"/>
              </a:solidFill>
            </a:endParaRPr>
          </a:p>
        </p:txBody>
      </p:sp>
      <p:pic>
        <p:nvPicPr>
          <p:cNvPr id="6" name="Image 4" descr="logo_PMI_vertical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6076" y="279402"/>
            <a:ext cx="901700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383117" y="1008063"/>
            <a:ext cx="9601200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F8F8F8"/>
              </a:solidFill>
              <a:ea typeface="ＭＳ Ｐゴシック" charset="-128"/>
            </a:endParaRPr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383117" y="1008063"/>
            <a:ext cx="9601200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F8F8F8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82756126"/>
      </p:ext>
    </p:extLst>
  </p:cSld>
  <p:clrMapOvr>
    <a:masterClrMapping/>
  </p:clrMapOvr>
  <p:transition>
    <p:wipe dir="r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  <a:lvl2pPr>
              <a:defRPr>
                <a:solidFill>
                  <a:srgbClr val="0070C0"/>
                </a:solidFill>
              </a:defRPr>
            </a:lvl2pPr>
            <a:lvl3pPr>
              <a:defRPr sz="1600">
                <a:solidFill>
                  <a:srgbClr val="0070C0"/>
                </a:solidFill>
              </a:defRPr>
            </a:lvl3pPr>
            <a:lvl4pPr>
              <a:defRPr sz="1400">
                <a:solidFill>
                  <a:srgbClr val="0070C0"/>
                </a:solidFill>
              </a:defRPr>
            </a:lvl4pPr>
            <a:lvl5pPr>
              <a:defRPr sz="1200">
                <a:solidFill>
                  <a:srgbClr val="0070C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fld id="{44F948E5-A22C-49F8-A34D-A330035CEC22}" type="slidenum">
              <a:rPr lang="fr-FR" smtClean="0">
                <a:solidFill>
                  <a:srgbClr val="0067B1"/>
                </a:solidFill>
              </a:rPr>
              <a:pPr/>
              <a:t>‹#›</a:t>
            </a:fld>
            <a:endParaRPr lang="fr-FR">
              <a:solidFill>
                <a:srgbClr val="0067B1"/>
              </a:solidFill>
            </a:endParaRPr>
          </a:p>
        </p:txBody>
      </p:sp>
      <p:pic>
        <p:nvPicPr>
          <p:cNvPr id="5" name="Image 4" descr="logo_PMI_vertical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6076" y="279402"/>
            <a:ext cx="901700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10"/>
          <p:cNvSpPr>
            <a:spLocks noChangeShapeType="1"/>
          </p:cNvSpPr>
          <p:nvPr userDrawn="1"/>
        </p:nvSpPr>
        <p:spPr bwMode="auto">
          <a:xfrm>
            <a:off x="383117" y="1008063"/>
            <a:ext cx="9601200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F8F8F8"/>
              </a:solidFill>
              <a:ea typeface="ＭＳ Ｐゴシック" charset="-128"/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383117" y="1008063"/>
            <a:ext cx="9601200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F8F8F8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72527954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607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321" y="826347"/>
            <a:ext cx="4244764" cy="1490133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826348"/>
            <a:ext cx="6172200" cy="503470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552700"/>
            <a:ext cx="3932767" cy="3316817"/>
          </a:xfr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792377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27572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image" Target="../media/image6.png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ags" Target="../tags/tag1.xml"/><Relationship Id="rId18" Type="http://schemas.openxmlformats.org/officeDocument/2006/relationships/image" Target="../media/image19.wmf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7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50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18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5.xml"/><Relationship Id="rId17" Type="http://schemas.openxmlformats.org/officeDocument/2006/relationships/image" Target="../media/image17.emf"/><Relationship Id="rId2" Type="http://schemas.openxmlformats.org/officeDocument/2006/relationships/slideLayout" Target="../slideLayouts/slideLayout57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ags" Target="../tags/tag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5" Type="http://schemas.openxmlformats.org/officeDocument/2006/relationships/image" Target="../media/image18.png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320" y="366185"/>
            <a:ext cx="10825480" cy="102912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666241"/>
            <a:ext cx="10515600" cy="45101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bg1">
                    <a:lumMod val="75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>
                <a:solidFill>
                  <a:schemeClr val="bg1">
                    <a:lumMod val="75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bg1">
                    <a:lumMod val="75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33160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rgbClr val="001A72"/>
          </a:solidFill>
          <a:latin typeface="Lato" charset="0"/>
          <a:ea typeface="Lato" charset="0"/>
          <a:cs typeface="Lato" charset="0"/>
        </a:defRPr>
      </a:lvl1pPr>
    </p:titleStyle>
    <p:bodyStyle>
      <a:lvl1pPr marL="160863" indent="-160863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Arial"/>
        <a:buChar char="•"/>
        <a:tabLst/>
        <a:defRPr sz="1867" kern="1200">
          <a:solidFill>
            <a:srgbClr val="404040"/>
          </a:solidFill>
          <a:latin typeface="Lato" charset="0"/>
          <a:ea typeface="Lato" charset="0"/>
          <a:cs typeface="Lato" charset="0"/>
        </a:defRPr>
      </a:lvl1pPr>
      <a:lvl2pPr marL="622284" indent="-16298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Arial"/>
        <a:buChar char="•"/>
        <a:tabLst/>
        <a:defRPr sz="1600" kern="1200">
          <a:solidFill>
            <a:srgbClr val="404040"/>
          </a:solidFill>
          <a:latin typeface="Lato" charset="0"/>
          <a:ea typeface="Lato" charset="0"/>
          <a:cs typeface="Lato" charset="0"/>
        </a:defRPr>
      </a:lvl2pPr>
      <a:lvl3pPr marL="1151438" indent="-15028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Arial"/>
        <a:buChar char="•"/>
        <a:tabLst/>
        <a:defRPr sz="1467" kern="1200">
          <a:solidFill>
            <a:srgbClr val="404040"/>
          </a:solidFill>
          <a:latin typeface="Lato" charset="0"/>
          <a:ea typeface="Lato" charset="0"/>
          <a:cs typeface="Lato" charset="0"/>
        </a:defRPr>
      </a:lvl3pPr>
      <a:lvl4pPr marL="1678475" indent="-148163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Arial"/>
        <a:buChar char="•"/>
        <a:tabLst/>
        <a:defRPr sz="1333" kern="1200">
          <a:solidFill>
            <a:srgbClr val="404040"/>
          </a:solidFill>
          <a:latin typeface="Lato" charset="0"/>
          <a:ea typeface="Lato" charset="0"/>
          <a:cs typeface="Lato" charset="0"/>
        </a:defRPr>
      </a:lvl4pPr>
      <a:lvl5pPr marL="2220328" indent="-16298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Arial"/>
        <a:buChar char="•"/>
        <a:tabLst/>
        <a:defRPr sz="1200" kern="1200">
          <a:solidFill>
            <a:srgbClr val="404040"/>
          </a:solidFill>
          <a:latin typeface="Lato" charset="0"/>
          <a:ea typeface="Lato" charset="0"/>
          <a:cs typeface="Lato" charset="0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5120" y="379333"/>
            <a:ext cx="11028680" cy="102912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7888" y="1422400"/>
            <a:ext cx="10525913" cy="4726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87240" y="636128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bg1">
                    <a:lumMod val="75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28297" y="636128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>
                <a:solidFill>
                  <a:schemeClr val="bg1">
                    <a:lumMod val="75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62943" y="636128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bg1">
                    <a:lumMod val="75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3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1" y="6148841"/>
            <a:ext cx="617172" cy="617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590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rgbClr val="001A72"/>
          </a:solidFill>
          <a:latin typeface="Lato" charset="0"/>
          <a:ea typeface="Lato" charset="0"/>
          <a:cs typeface="Lato" charset="0"/>
        </a:defRPr>
      </a:lvl1pPr>
    </p:titleStyle>
    <p:bodyStyle>
      <a:lvl1pPr marL="160863" indent="-160863" algn="l" defTabSz="1219170" rtl="0" eaLnBrk="1" latinLnBrk="0" hangingPunct="1">
        <a:lnSpc>
          <a:spcPct val="105000"/>
        </a:lnSpc>
        <a:spcBef>
          <a:spcPts val="533"/>
        </a:spcBef>
        <a:spcAft>
          <a:spcPts val="1067"/>
        </a:spcAft>
        <a:buClr>
          <a:srgbClr val="AA198D"/>
        </a:buClr>
        <a:buFont typeface="Arial"/>
        <a:buChar char="•"/>
        <a:tabLst/>
        <a:defRPr sz="1300" b="0" i="0" kern="1200">
          <a:solidFill>
            <a:srgbClr val="404040"/>
          </a:solidFill>
          <a:latin typeface="Lato" charset="0"/>
          <a:ea typeface="Lato" charset="0"/>
          <a:cs typeface="Lato" charset="0"/>
        </a:defRPr>
      </a:lvl1pPr>
      <a:lvl2pPr marL="622284" indent="-195067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Cambria" charset="0"/>
        <a:buChar char="⎼"/>
        <a:tabLst/>
        <a:defRPr sz="1100" b="0" i="0" kern="1200">
          <a:solidFill>
            <a:srgbClr val="404040"/>
          </a:solidFill>
          <a:latin typeface="Lato" charset="0"/>
          <a:ea typeface="Lato" charset="0"/>
          <a:cs typeface="Lato" charset="0"/>
        </a:defRPr>
      </a:lvl2pPr>
      <a:lvl3pPr marL="1151438" indent="-15028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Arial"/>
        <a:buChar char="•"/>
        <a:tabLst/>
        <a:defRPr sz="1100" b="0" i="0" kern="1200">
          <a:solidFill>
            <a:srgbClr val="404040"/>
          </a:solidFill>
          <a:latin typeface="Lato" charset="0"/>
          <a:ea typeface="Lato" charset="0"/>
          <a:cs typeface="Lato" charset="0"/>
        </a:defRPr>
      </a:lvl3pPr>
      <a:lvl4pPr marL="1678475" indent="-148163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Arial"/>
        <a:buChar char="•"/>
        <a:tabLst/>
        <a:defRPr sz="1100" b="0" i="0" kern="1200">
          <a:solidFill>
            <a:srgbClr val="404040"/>
          </a:solidFill>
          <a:latin typeface="Lato" charset="0"/>
          <a:ea typeface="Lato" charset="0"/>
          <a:cs typeface="Lato" charset="0"/>
        </a:defRPr>
      </a:lvl4pPr>
      <a:lvl5pPr marL="2220328" indent="-16298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Arial"/>
        <a:buChar char="•"/>
        <a:tabLst/>
        <a:defRPr sz="1100" b="0" i="0" kern="1200">
          <a:solidFill>
            <a:srgbClr val="404040"/>
          </a:solidFill>
          <a:latin typeface="Lato" charset="0"/>
          <a:ea typeface="Lato" charset="0"/>
          <a:cs typeface="Lato" charset="0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5120" y="379333"/>
            <a:ext cx="11028680" cy="102912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7888" y="1422400"/>
            <a:ext cx="10525913" cy="4726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87240" y="636128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bg1">
                    <a:lumMod val="75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fld id="{89125010-6D13-4C8F-B063-21B155820152}" type="datetimeFigureOut">
              <a:rPr lang="en-AU" smtClean="0"/>
              <a:t>5/06/2020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28297" y="6361287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>
                <a:solidFill>
                  <a:schemeClr val="bg1">
                    <a:lumMod val="75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62943" y="636128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bg1">
                    <a:lumMod val="75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fld id="{5D79A12F-254B-425D-9797-EAA56F97D3F0}" type="slidenum">
              <a:rPr lang="en-AU" smtClean="0"/>
              <a:t>‹#›</a:t>
            </a:fld>
            <a:endParaRPr lang="en-AU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6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1" y="6148841"/>
            <a:ext cx="617172" cy="617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942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rgbClr val="001A72"/>
          </a:solidFill>
          <a:latin typeface="Lato" charset="0"/>
          <a:ea typeface="Lato" charset="0"/>
          <a:cs typeface="Lato" charset="0"/>
        </a:defRPr>
      </a:lvl1pPr>
    </p:titleStyle>
    <p:bodyStyle>
      <a:lvl1pPr marL="160863" indent="-160863" algn="l" defTabSz="1219170" rtl="0" eaLnBrk="1" latinLnBrk="0" hangingPunct="1">
        <a:lnSpc>
          <a:spcPct val="105000"/>
        </a:lnSpc>
        <a:spcBef>
          <a:spcPts val="533"/>
        </a:spcBef>
        <a:spcAft>
          <a:spcPts val="1067"/>
        </a:spcAft>
        <a:buClr>
          <a:srgbClr val="AA198D"/>
        </a:buClr>
        <a:buFont typeface="Arial"/>
        <a:buChar char="•"/>
        <a:tabLst/>
        <a:defRPr sz="1300" b="0" i="0" kern="1200">
          <a:solidFill>
            <a:srgbClr val="404040"/>
          </a:solidFill>
          <a:latin typeface="Lato" charset="0"/>
          <a:ea typeface="Lato" charset="0"/>
          <a:cs typeface="Lato" charset="0"/>
        </a:defRPr>
      </a:lvl1pPr>
      <a:lvl2pPr marL="622284" indent="-195067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Cambria" charset="0"/>
        <a:buChar char="⎼"/>
        <a:tabLst/>
        <a:defRPr sz="1100" b="0" i="0" kern="1200">
          <a:solidFill>
            <a:srgbClr val="404040"/>
          </a:solidFill>
          <a:latin typeface="Lato" charset="0"/>
          <a:ea typeface="Lato" charset="0"/>
          <a:cs typeface="Lato" charset="0"/>
        </a:defRPr>
      </a:lvl2pPr>
      <a:lvl3pPr marL="1151438" indent="-15028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Arial"/>
        <a:buChar char="•"/>
        <a:tabLst/>
        <a:defRPr sz="1100" b="0" i="0" kern="1200">
          <a:solidFill>
            <a:srgbClr val="404040"/>
          </a:solidFill>
          <a:latin typeface="Lato" charset="0"/>
          <a:ea typeface="Lato" charset="0"/>
          <a:cs typeface="Lato" charset="0"/>
        </a:defRPr>
      </a:lvl3pPr>
      <a:lvl4pPr marL="1678475" indent="-148163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Arial"/>
        <a:buChar char="•"/>
        <a:tabLst/>
        <a:defRPr sz="1100" b="0" i="0" kern="1200">
          <a:solidFill>
            <a:srgbClr val="404040"/>
          </a:solidFill>
          <a:latin typeface="Lato" charset="0"/>
          <a:ea typeface="Lato" charset="0"/>
          <a:cs typeface="Lato" charset="0"/>
        </a:defRPr>
      </a:lvl4pPr>
      <a:lvl5pPr marL="2220328" indent="-16298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AA198D"/>
        </a:buClr>
        <a:buFont typeface="Arial"/>
        <a:buChar char="•"/>
        <a:tabLst/>
        <a:defRPr sz="1100" b="0" i="0" kern="1200">
          <a:solidFill>
            <a:srgbClr val="404040"/>
          </a:solidFill>
          <a:latin typeface="Lato" charset="0"/>
          <a:ea typeface="Lato" charset="0"/>
          <a:cs typeface="Lato" charset="0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1673F1-B51D-41F7-95E6-D8F785526055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 w="28575"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F8F8F8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645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3118" y="287339"/>
            <a:ext cx="9596967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54000" rIns="0" bIns="5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err="1"/>
              <a:t>Cliquez</a:t>
            </a:r>
            <a:r>
              <a:rPr lang="en-US"/>
              <a:t> pour modifier le style du </a:t>
            </a:r>
            <a:r>
              <a:rPr lang="en-US" err="1"/>
              <a:t>titre</a:t>
            </a:r>
            <a:endParaRPr lang="en-US"/>
          </a:p>
        </p:txBody>
      </p:sp>
      <p:sp>
        <p:nvSpPr>
          <p:cNvPr id="6645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3117" y="1314451"/>
            <a:ext cx="11176000" cy="481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5720" rIns="90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err="1"/>
              <a:t>Cliquez</a:t>
            </a:r>
            <a:r>
              <a:rPr lang="en-US"/>
              <a:t> pour modifier les styles du </a:t>
            </a:r>
            <a:r>
              <a:rPr lang="en-US" err="1"/>
              <a:t>texte</a:t>
            </a:r>
            <a:r>
              <a:rPr lang="en-US"/>
              <a:t> du masque</a:t>
            </a:r>
          </a:p>
          <a:p>
            <a:pPr lvl="1"/>
            <a:r>
              <a:rPr lang="en-US" err="1"/>
              <a:t>Deuxièm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2"/>
            <a:r>
              <a:rPr lang="en-US" err="1"/>
              <a:t>Troisièm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3"/>
            <a:r>
              <a:rPr lang="en-US" err="1"/>
              <a:t>Quatrièm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4"/>
            <a:r>
              <a:rPr lang="en-US" err="1"/>
              <a:t>Cinquièm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</p:txBody>
      </p:sp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383117" y="1008063"/>
            <a:ext cx="9601200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F8F8F8"/>
              </a:solidFill>
              <a:ea typeface="ＭＳ Ｐゴシック" charset="-128"/>
            </a:endParaRPr>
          </a:p>
        </p:txBody>
      </p:sp>
      <p:sp>
        <p:nvSpPr>
          <p:cNvPr id="66458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36301" y="6369051"/>
            <a:ext cx="742951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fld id="{75494460-D82A-4D0F-8F1C-0FEE718DDEE5}" type="slidenum">
              <a:rPr lang="en-US" smtClean="0">
                <a:solidFill>
                  <a:srgbClr val="0067B1"/>
                </a:solidFill>
                <a:ea typeface="ＭＳ Ｐゴシック" pitchFamily="34" charset="-128"/>
              </a:rPr>
              <a:pPr algn="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67B1"/>
              </a:solidFill>
              <a:ea typeface="ＭＳ Ｐゴシック" pitchFamily="34" charset="-128"/>
            </a:endParaRPr>
          </a:p>
        </p:txBody>
      </p:sp>
      <p:pic>
        <p:nvPicPr>
          <p:cNvPr id="664582" name="Picture 9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Line 10"/>
          <p:cNvSpPr>
            <a:spLocks noChangeShapeType="1"/>
          </p:cNvSpPr>
          <p:nvPr userDrawn="1"/>
        </p:nvSpPr>
        <p:spPr bwMode="auto">
          <a:xfrm>
            <a:off x="383117" y="1008063"/>
            <a:ext cx="9601200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F8F8F8"/>
              </a:solidFill>
              <a:ea typeface="ＭＳ Ｐゴシック" charset="-128"/>
            </a:endParaRPr>
          </a:p>
        </p:txBody>
      </p:sp>
      <p:pic>
        <p:nvPicPr>
          <p:cNvPr id="664585" name="Picture 9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 4" descr="logo_PMI_vertical.wmf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6076" y="279401"/>
            <a:ext cx="901700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346492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</p:sldLayoutIdLst>
  <p:transition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●"/>
        <a:defRPr sz="3200">
          <a:solidFill>
            <a:schemeClr val="bg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28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20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8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6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1673F1-B51D-41F7-95E6-D8F785526055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 w="28575"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645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3118" y="287339"/>
            <a:ext cx="9596967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54000" rIns="0" bIns="5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err="1"/>
              <a:t>Cliquez</a:t>
            </a:r>
            <a:r>
              <a:rPr lang="en-US"/>
              <a:t> pour modifier le style du </a:t>
            </a:r>
            <a:r>
              <a:rPr lang="en-US" err="1"/>
              <a:t>titre</a:t>
            </a:r>
            <a:endParaRPr lang="en-US"/>
          </a:p>
        </p:txBody>
      </p:sp>
      <p:sp>
        <p:nvSpPr>
          <p:cNvPr id="6645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3117" y="1314451"/>
            <a:ext cx="11176000" cy="481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5720" rIns="90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err="1"/>
              <a:t>Cliquez</a:t>
            </a:r>
            <a:r>
              <a:rPr lang="en-US"/>
              <a:t> pour modifier les styles du </a:t>
            </a:r>
            <a:r>
              <a:rPr lang="en-US" err="1"/>
              <a:t>texte</a:t>
            </a:r>
            <a:r>
              <a:rPr lang="en-US"/>
              <a:t> du masque</a:t>
            </a:r>
          </a:p>
          <a:p>
            <a:pPr lvl="1"/>
            <a:r>
              <a:rPr lang="en-US" err="1"/>
              <a:t>Deuxièm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2"/>
            <a:r>
              <a:rPr lang="en-US" err="1"/>
              <a:t>Troisièm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3"/>
            <a:r>
              <a:rPr lang="en-US" err="1"/>
              <a:t>Quatrièm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4"/>
            <a:r>
              <a:rPr lang="en-US" err="1"/>
              <a:t>Cinquièm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</p:txBody>
      </p:sp>
      <p:sp>
        <p:nvSpPr>
          <p:cNvPr id="66458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36301" y="6369051"/>
            <a:ext cx="742951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75494460-D82A-4D0F-8F1C-0FEE718DDEE5}" type="slidenum">
              <a:rPr lang="en-US" smtClean="0">
                <a:solidFill>
                  <a:srgbClr val="0067B1"/>
                </a:solidFill>
                <a:ea typeface="ＭＳ Ｐゴシック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67B1"/>
              </a:solidFill>
              <a:ea typeface="ＭＳ Ｐゴシック" pitchFamily="34" charset="-128"/>
            </a:endParaRPr>
          </a:p>
        </p:txBody>
      </p:sp>
      <p:pic>
        <p:nvPicPr>
          <p:cNvPr id="664582" name="Picture 9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4585" name="Picture 9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667311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transition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●"/>
        <a:defRPr sz="3200">
          <a:solidFill>
            <a:schemeClr val="bg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28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20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8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6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5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3119" y="287340"/>
            <a:ext cx="9596967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54000" rIns="0" bIns="5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6645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3117" y="1314452"/>
            <a:ext cx="11176000" cy="481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5720" rIns="90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6458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36302" y="6369052"/>
            <a:ext cx="742951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75494460-D82A-4D0F-8F1C-0FEE718DDEE5}" type="slidenum">
              <a:rPr lang="fr-FR" smtClean="0">
                <a:solidFill>
                  <a:srgbClr val="0067B1"/>
                </a:solidFill>
                <a:ea typeface="ＭＳ Ｐゴシック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fr-FR">
              <a:solidFill>
                <a:srgbClr val="0067B1"/>
              </a:solidFill>
              <a:ea typeface="ＭＳ Ｐゴシック" pitchFamily="34" charset="-128"/>
            </a:endParaRPr>
          </a:p>
        </p:txBody>
      </p:sp>
      <p:pic>
        <p:nvPicPr>
          <p:cNvPr id="664582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4585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558168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</p:sldLayoutIdLst>
  <p:transition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 b="1" i="0">
          <a:solidFill>
            <a:srgbClr val="0070C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●"/>
        <a:defRPr sz="2400">
          <a:solidFill>
            <a:srgbClr val="0070C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2000">
          <a:solidFill>
            <a:srgbClr val="0070C0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600">
          <a:solidFill>
            <a:srgbClr val="0070C0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400">
          <a:solidFill>
            <a:srgbClr val="0070C0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rgbClr val="0070C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53C7E2-819C-4036-BD9B-42923897BD4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>
                <a:latin typeface="Lato"/>
              </a:rPr>
              <a:t>DTE for premium </a:t>
            </a:r>
            <a:r>
              <a:rPr lang="fr-FR" dirty="0" err="1">
                <a:latin typeface="Lato"/>
              </a:rPr>
              <a:t>resellers</a:t>
            </a:r>
            <a:endParaRPr lang="en-AU" dirty="0">
              <a:latin typeface="Lato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891616-F7D6-4E3C-9ACF-5E83DFCF405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May 2020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200082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6104" y="492851"/>
            <a:ext cx="6486810" cy="475157"/>
          </a:xfrm>
        </p:spPr>
        <p:txBody>
          <a:bodyPr>
            <a:normAutofit/>
          </a:bodyPr>
          <a:lstStyle/>
          <a:p>
            <a:r>
              <a:rPr lang="fr-FR" dirty="0"/>
              <a:t>P</a:t>
            </a:r>
            <a:r>
              <a:rPr lang="en-US" dirty="0"/>
              <a:t>MSA analytics – scope evolu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601013" y="6361287"/>
            <a:ext cx="317321" cy="36618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F948E5-A22C-49F8-A34D-A330035CEC22}" type="slidenum"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0067B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0067B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2817413-6D27-43D5-B20A-A896BA32774F}"/>
              </a:ext>
            </a:extLst>
          </p:cNvPr>
          <p:cNvSpPr/>
          <p:nvPr/>
        </p:nvSpPr>
        <p:spPr bwMode="gray">
          <a:xfrm>
            <a:off x="3066500" y="1118845"/>
            <a:ext cx="1846467" cy="391376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ED4F875-57B2-4C5E-99BC-B8049FBCE1CB}"/>
              </a:ext>
            </a:extLst>
          </p:cNvPr>
          <p:cNvSpPr txBox="1"/>
          <p:nvPr/>
        </p:nvSpPr>
        <p:spPr>
          <a:xfrm>
            <a:off x="3034393" y="1154892"/>
            <a:ext cx="186537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Jan 2018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DBCB2828-3ED8-4847-BFBD-1CF9B6B1A18E}"/>
              </a:ext>
            </a:extLst>
          </p:cNvPr>
          <p:cNvSpPr/>
          <p:nvPr/>
        </p:nvSpPr>
        <p:spPr bwMode="gray">
          <a:xfrm>
            <a:off x="7292238" y="1113365"/>
            <a:ext cx="1846467" cy="391376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37E5DB2-5E31-4C1A-AAB4-AF710FDBC929}"/>
              </a:ext>
            </a:extLst>
          </p:cNvPr>
          <p:cNvSpPr txBox="1"/>
          <p:nvPr/>
        </p:nvSpPr>
        <p:spPr>
          <a:xfrm>
            <a:off x="7272914" y="1159670"/>
            <a:ext cx="186537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End 2020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B54D35E-E1C8-4DD7-BE9A-320D1D89B9DF}"/>
              </a:ext>
            </a:extLst>
          </p:cNvPr>
          <p:cNvSpPr txBox="1"/>
          <p:nvPr/>
        </p:nvSpPr>
        <p:spPr>
          <a:xfrm>
            <a:off x="3309237" y="5512054"/>
            <a:ext cx="1355071" cy="2867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dirty="0" err="1"/>
              <a:t>XLCubed</a:t>
            </a:r>
            <a:endParaRPr lang="en-US" sz="10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AE7A115-E0EB-4F1D-8D4D-3C88B406BB54}"/>
              </a:ext>
            </a:extLst>
          </p:cNvPr>
          <p:cNvSpPr txBox="1"/>
          <p:nvPr/>
        </p:nvSpPr>
        <p:spPr>
          <a:xfrm>
            <a:off x="3312196" y="1649806"/>
            <a:ext cx="1355071" cy="2867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b="1" dirty="0"/>
              <a:t>Sales data </a:t>
            </a:r>
            <a:r>
              <a:rPr lang="fr-FR" sz="1000" b="1" dirty="0" err="1"/>
              <a:t>warehouse</a:t>
            </a:r>
            <a:endParaRPr lang="en-US" sz="1000" b="1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D317BAD-4D3C-445B-88C6-374AABA90F47}"/>
              </a:ext>
            </a:extLst>
          </p:cNvPr>
          <p:cNvSpPr txBox="1"/>
          <p:nvPr/>
        </p:nvSpPr>
        <p:spPr>
          <a:xfrm>
            <a:off x="3308153" y="4848990"/>
            <a:ext cx="1355071" cy="286735"/>
          </a:xfrm>
          <a:prstGeom prst="rect">
            <a:avLst/>
          </a:prstGeom>
          <a:solidFill>
            <a:srgbClr val="FFC000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dirty="0"/>
              <a:t>3 key </a:t>
            </a:r>
            <a:r>
              <a:rPr lang="fr-FR" sz="1000" dirty="0" err="1"/>
              <a:t>users</a:t>
            </a:r>
            <a:endParaRPr lang="en-US" sz="10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CB7FC58-497F-475B-97C9-E581C24A4C38}"/>
              </a:ext>
            </a:extLst>
          </p:cNvPr>
          <p:cNvSpPr txBox="1"/>
          <p:nvPr/>
        </p:nvSpPr>
        <p:spPr>
          <a:xfrm>
            <a:off x="7591663" y="4848989"/>
            <a:ext cx="1355071" cy="286735"/>
          </a:xfrm>
          <a:prstGeom prst="rect">
            <a:avLst/>
          </a:prstGeom>
          <a:solidFill>
            <a:srgbClr val="FFC000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dirty="0"/>
              <a:t>10 key </a:t>
            </a:r>
            <a:r>
              <a:rPr lang="fr-FR" sz="1000" dirty="0" err="1"/>
              <a:t>users</a:t>
            </a:r>
            <a:endParaRPr lang="en-US" sz="10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1FF14FA-1170-4CF3-B009-DBE6D7A9936D}"/>
              </a:ext>
            </a:extLst>
          </p:cNvPr>
          <p:cNvSpPr txBox="1"/>
          <p:nvPr/>
        </p:nvSpPr>
        <p:spPr>
          <a:xfrm>
            <a:off x="6661042" y="1639379"/>
            <a:ext cx="1355071" cy="2867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b="1" dirty="0"/>
              <a:t>Sales data </a:t>
            </a:r>
            <a:r>
              <a:rPr lang="fr-FR" sz="1000" b="1" dirty="0" err="1"/>
              <a:t>warehouse</a:t>
            </a:r>
            <a:endParaRPr lang="en-US" sz="1000" b="1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4335C8D-4A4A-432B-978F-92AAA7B55DC3}"/>
              </a:ext>
            </a:extLst>
          </p:cNvPr>
          <p:cNvSpPr txBox="1"/>
          <p:nvPr/>
        </p:nvSpPr>
        <p:spPr>
          <a:xfrm>
            <a:off x="8123487" y="1650112"/>
            <a:ext cx="1732610" cy="294647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b="1" dirty="0"/>
              <a:t>Golden </a:t>
            </a:r>
            <a:r>
              <a:rPr lang="fr-FR" sz="1000" b="1" dirty="0" err="1"/>
              <a:t>Gate</a:t>
            </a:r>
            <a:r>
              <a:rPr lang="fr-FR" sz="1000" b="1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As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Contacts, </a:t>
            </a:r>
            <a:r>
              <a:rPr lang="fr-FR" sz="1000" dirty="0" err="1"/>
              <a:t>consumers</a:t>
            </a:r>
            <a:endParaRPr lang="fr-FR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Shi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D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Demand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CEGID (sales, stock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 err="1"/>
              <a:t>Vcount</a:t>
            </a:r>
            <a:endParaRPr lang="fr-FR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N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Marg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 err="1"/>
              <a:t>Staffcloud</a:t>
            </a:r>
            <a:endParaRPr lang="fr-FR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Annex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Marketing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MG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G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F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Try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000" dirty="0"/>
              <a:t>Self Re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000" dirty="0"/>
          </a:p>
          <a:p>
            <a:endParaRPr lang="en-US" sz="10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DECD71C-BE30-4974-847C-55B27F91EAB2}"/>
              </a:ext>
            </a:extLst>
          </p:cNvPr>
          <p:cNvSpPr txBox="1"/>
          <p:nvPr/>
        </p:nvSpPr>
        <p:spPr>
          <a:xfrm>
            <a:off x="6661040" y="2342699"/>
            <a:ext cx="1355071" cy="2867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b="1" dirty="0"/>
              <a:t>Data </a:t>
            </a:r>
            <a:r>
              <a:rPr lang="fr-FR" sz="1000" b="1" dirty="0" err="1"/>
              <a:t>ocean</a:t>
            </a:r>
            <a:endParaRPr lang="en-US" sz="1000" b="1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3DCEC2A-5143-4664-BF1F-8FE3E1BF3B1C}"/>
              </a:ext>
            </a:extLst>
          </p:cNvPr>
          <p:cNvSpPr txBox="1"/>
          <p:nvPr/>
        </p:nvSpPr>
        <p:spPr>
          <a:xfrm>
            <a:off x="6595378" y="5524134"/>
            <a:ext cx="1355071" cy="2867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dirty="0" err="1"/>
              <a:t>XLCubed</a:t>
            </a:r>
            <a:endParaRPr lang="en-US" sz="10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D8A574A-DD3E-4C14-AB99-CE00CC3CA054}"/>
              </a:ext>
            </a:extLst>
          </p:cNvPr>
          <p:cNvSpPr txBox="1"/>
          <p:nvPr/>
        </p:nvSpPr>
        <p:spPr>
          <a:xfrm>
            <a:off x="3312196" y="2010171"/>
            <a:ext cx="1355071" cy="2867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b="1" dirty="0"/>
              <a:t>Data cubes</a:t>
            </a:r>
            <a:endParaRPr lang="en-US" sz="1000" b="1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85FA5A0-7C9F-4ACB-A2B4-A31B0FD04423}"/>
              </a:ext>
            </a:extLst>
          </p:cNvPr>
          <p:cNvSpPr txBox="1"/>
          <p:nvPr/>
        </p:nvSpPr>
        <p:spPr>
          <a:xfrm>
            <a:off x="6661041" y="1997148"/>
            <a:ext cx="1355071" cy="2867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b="1" dirty="0"/>
              <a:t>Data cubes</a:t>
            </a:r>
            <a:endParaRPr lang="en-US" sz="1000" b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37B040A-44AD-484A-8FFC-FB3B3F46D35E}"/>
              </a:ext>
            </a:extLst>
          </p:cNvPr>
          <p:cNvSpPr txBox="1"/>
          <p:nvPr/>
        </p:nvSpPr>
        <p:spPr>
          <a:xfrm>
            <a:off x="6667451" y="3138722"/>
            <a:ext cx="1355071" cy="286735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b="1" dirty="0"/>
              <a:t>CRM data ingestion  </a:t>
            </a:r>
            <a:endParaRPr lang="en-US" sz="1000" b="1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9AEAAAC-11D2-4F6B-9180-6C0B62558A75}"/>
              </a:ext>
            </a:extLst>
          </p:cNvPr>
          <p:cNvSpPr txBox="1"/>
          <p:nvPr/>
        </p:nvSpPr>
        <p:spPr>
          <a:xfrm>
            <a:off x="6667451" y="3496493"/>
            <a:ext cx="1355071" cy="286735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b="1" dirty="0" err="1"/>
              <a:t>Iqos</a:t>
            </a:r>
            <a:r>
              <a:rPr lang="fr-FR" sz="1000" b="1" dirty="0"/>
              <a:t> Club </a:t>
            </a:r>
            <a:endParaRPr lang="en-US" sz="1000" b="1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6F1B096-F41B-41CE-A7C9-E6171D3330F2}"/>
              </a:ext>
            </a:extLst>
          </p:cNvPr>
          <p:cNvSpPr txBox="1"/>
          <p:nvPr/>
        </p:nvSpPr>
        <p:spPr>
          <a:xfrm>
            <a:off x="6614702" y="6053202"/>
            <a:ext cx="1355071" cy="2867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dirty="0"/>
              <a:t>Tableau</a:t>
            </a:r>
            <a:endParaRPr lang="en-US" sz="10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D80BFF8-07C0-450F-B9C7-4D5F51F5F216}"/>
              </a:ext>
            </a:extLst>
          </p:cNvPr>
          <p:cNvSpPr txBox="1"/>
          <p:nvPr/>
        </p:nvSpPr>
        <p:spPr>
          <a:xfrm>
            <a:off x="8460747" y="6053037"/>
            <a:ext cx="1355071" cy="2867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dirty="0" err="1"/>
              <a:t>PowerBI</a:t>
            </a:r>
            <a:endParaRPr lang="en-US" sz="10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08F6E0C-105F-4004-A4BA-5E93D8A8349E}"/>
              </a:ext>
            </a:extLst>
          </p:cNvPr>
          <p:cNvSpPr txBox="1"/>
          <p:nvPr/>
        </p:nvSpPr>
        <p:spPr>
          <a:xfrm>
            <a:off x="8460748" y="5524133"/>
            <a:ext cx="1355071" cy="2867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sz="1000" dirty="0"/>
              <a:t>Data Robot</a:t>
            </a:r>
            <a:endParaRPr lang="en-US" sz="10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3D67095-888F-4E94-BAAA-0252EACF07FA}"/>
              </a:ext>
            </a:extLst>
          </p:cNvPr>
          <p:cNvSpPr txBox="1"/>
          <p:nvPr/>
        </p:nvSpPr>
        <p:spPr>
          <a:xfrm>
            <a:off x="6661038" y="2719807"/>
            <a:ext cx="1355071" cy="2867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dirty="0"/>
              <a:t>Data Robot</a:t>
            </a:r>
            <a:endParaRPr lang="en-US" dirty="0"/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4FADCCD3-A72C-45B9-9220-36F293E46E4A}"/>
              </a:ext>
            </a:extLst>
          </p:cNvPr>
          <p:cNvSpPr/>
          <p:nvPr/>
        </p:nvSpPr>
        <p:spPr bwMode="gray">
          <a:xfrm>
            <a:off x="1238467" y="2403736"/>
            <a:ext cx="1619593" cy="53587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5E6274">
                  <a:lumMod val="60000"/>
                  <a:lumOff val="40000"/>
                </a:srgbClr>
              </a:gs>
              <a:gs pos="100000">
                <a:srgbClr val="6E7388"/>
              </a:gs>
            </a:gsLst>
            <a:lin ang="8100000" scaled="1"/>
          </a:gradFill>
          <a:ln w="127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/>
            <a:r>
              <a:rPr lang="en-GB" sz="1200" kern="0" dirty="0">
                <a:solidFill>
                  <a:srgbClr val="FFFFFF"/>
                </a:solidFill>
                <a:latin typeface="Lato"/>
              </a:rPr>
              <a:t>Infrastructure and data interfaces</a:t>
            </a:r>
            <a:endParaRPr lang="en-US" sz="1200" kern="0" dirty="0">
              <a:solidFill>
                <a:srgbClr val="FFFFFF"/>
              </a:solidFill>
              <a:latin typeface="Lato"/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EC870FDC-B0E4-4141-AA93-90ED9737A025}"/>
              </a:ext>
            </a:extLst>
          </p:cNvPr>
          <p:cNvSpPr/>
          <p:nvPr/>
        </p:nvSpPr>
        <p:spPr bwMode="gray">
          <a:xfrm>
            <a:off x="1238467" y="4779519"/>
            <a:ext cx="1619593" cy="53587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5E6274">
                  <a:lumMod val="60000"/>
                  <a:lumOff val="40000"/>
                </a:srgbClr>
              </a:gs>
              <a:gs pos="100000">
                <a:srgbClr val="6E7388"/>
              </a:gs>
            </a:gsLst>
            <a:lin ang="8100000" scaled="1"/>
          </a:gradFill>
          <a:ln w="127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/>
            <a:r>
              <a:rPr lang="en-GB" sz="1200" kern="0" dirty="0">
                <a:solidFill>
                  <a:srgbClr val="FFFFFF"/>
                </a:solidFill>
                <a:latin typeface="Lato"/>
              </a:rPr>
              <a:t>Key users</a:t>
            </a:r>
            <a:endParaRPr lang="en-US" sz="1200" kern="0" dirty="0">
              <a:solidFill>
                <a:srgbClr val="FFFFFF"/>
              </a:solidFill>
              <a:latin typeface="Lato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E38A8D3B-4925-4140-9B1A-BC3F553589EA}"/>
              </a:ext>
            </a:extLst>
          </p:cNvPr>
          <p:cNvSpPr/>
          <p:nvPr/>
        </p:nvSpPr>
        <p:spPr bwMode="gray">
          <a:xfrm>
            <a:off x="6369004" y="1566012"/>
            <a:ext cx="3724907" cy="3139665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3D0C0ACE-0A60-41A5-BB3C-1CF06A2CE436}"/>
              </a:ext>
            </a:extLst>
          </p:cNvPr>
          <p:cNvSpPr/>
          <p:nvPr/>
        </p:nvSpPr>
        <p:spPr bwMode="gray">
          <a:xfrm>
            <a:off x="3004078" y="1559242"/>
            <a:ext cx="1908890" cy="3139665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0499B39A-9DAF-4D7C-9553-9E563DA3B11D}"/>
              </a:ext>
            </a:extLst>
          </p:cNvPr>
          <p:cNvSpPr/>
          <p:nvPr/>
        </p:nvSpPr>
        <p:spPr bwMode="gray">
          <a:xfrm>
            <a:off x="2990873" y="4779519"/>
            <a:ext cx="1908890" cy="539262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3FA0DD50-C1C8-41D8-AC8A-AE9C4A28555F}"/>
              </a:ext>
            </a:extLst>
          </p:cNvPr>
          <p:cNvSpPr/>
          <p:nvPr/>
        </p:nvSpPr>
        <p:spPr bwMode="gray">
          <a:xfrm>
            <a:off x="6360307" y="4781499"/>
            <a:ext cx="3724907" cy="539262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0DDDF60D-A5D6-4533-A9E4-9297A8B5759C}"/>
              </a:ext>
            </a:extLst>
          </p:cNvPr>
          <p:cNvSpPr/>
          <p:nvPr/>
        </p:nvSpPr>
        <p:spPr bwMode="gray">
          <a:xfrm>
            <a:off x="2990873" y="5385789"/>
            <a:ext cx="1908890" cy="1186649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09C380BC-BD9F-4A7D-9742-DC3A3C883E2C}"/>
              </a:ext>
            </a:extLst>
          </p:cNvPr>
          <p:cNvSpPr/>
          <p:nvPr/>
        </p:nvSpPr>
        <p:spPr bwMode="gray">
          <a:xfrm>
            <a:off x="6364350" y="5396582"/>
            <a:ext cx="3724906" cy="1186650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8D1CCAA3-52DC-4439-A435-3BD6B7F465DC}"/>
              </a:ext>
            </a:extLst>
          </p:cNvPr>
          <p:cNvSpPr/>
          <p:nvPr/>
        </p:nvSpPr>
        <p:spPr bwMode="gray">
          <a:xfrm>
            <a:off x="1255766" y="5655421"/>
            <a:ext cx="1619593" cy="53587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5E6274">
                  <a:lumMod val="60000"/>
                  <a:lumOff val="40000"/>
                </a:srgbClr>
              </a:gs>
              <a:gs pos="100000">
                <a:srgbClr val="6E7388"/>
              </a:gs>
            </a:gsLst>
            <a:lin ang="8100000" scaled="1"/>
          </a:gradFill>
          <a:ln w="127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/>
            <a:r>
              <a:rPr lang="en-GB" sz="1200" kern="0" dirty="0">
                <a:solidFill>
                  <a:srgbClr val="FFFFFF"/>
                </a:solidFill>
                <a:latin typeface="Lato"/>
              </a:rPr>
              <a:t>Tools</a:t>
            </a:r>
            <a:endParaRPr lang="en-US" sz="1200" kern="0" dirty="0">
              <a:solidFill>
                <a:srgbClr val="FFFFFF"/>
              </a:solidFill>
              <a:latin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411263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6104" y="492851"/>
            <a:ext cx="6486810" cy="475157"/>
          </a:xfrm>
        </p:spPr>
        <p:txBody>
          <a:bodyPr>
            <a:normAutofit/>
          </a:bodyPr>
          <a:lstStyle/>
          <a:p>
            <a:r>
              <a:rPr lang="fr-FR" dirty="0"/>
              <a:t>Monitoring </a:t>
            </a:r>
            <a:r>
              <a:rPr lang="fr-FR" dirty="0" err="1"/>
              <a:t>tool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601013" y="6361287"/>
            <a:ext cx="317321" cy="36618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F948E5-A22C-49F8-A34D-A330035CEC22}" type="slidenum"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0067B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0067B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2DABC11-8380-4B98-93CC-1BCFFAC71A97}"/>
              </a:ext>
            </a:extLst>
          </p:cNvPr>
          <p:cNvSpPr txBox="1"/>
          <p:nvPr/>
        </p:nvSpPr>
        <p:spPr>
          <a:xfrm>
            <a:off x="786104" y="1315704"/>
            <a:ext cx="10933572" cy="231435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defTabSz="914400">
              <a:lnSpc>
                <a:spcPct val="150000"/>
              </a:lnSpc>
              <a:defRPr/>
            </a:pPr>
            <a:r>
              <a:rPr lang="en-US" sz="1400" b="1" kern="0" dirty="0">
                <a:latin typeface="Lato"/>
                <a:cs typeface="Segoe UI Semilight" panose="020B0402040204020203" pitchFamily="34" charset="0"/>
              </a:rPr>
              <a:t>Technical interface monitoring</a:t>
            </a:r>
          </a:p>
          <a:p>
            <a:pPr marL="285750" lvl="0" indent="-2857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Lato"/>
                <a:cs typeface="Segoe UI Semilight" panose="020B0402040204020203" pitchFamily="34" charset="0"/>
              </a:rPr>
              <a:t>In place</a:t>
            </a:r>
          </a:p>
          <a:p>
            <a:pPr marL="285750" lvl="0" indent="-2857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Lato"/>
                <a:cs typeface="Segoe UI Semilight" panose="020B0402040204020203" pitchFamily="34" charset="0"/>
              </a:rPr>
              <a:t>Not covered: missing data </a:t>
            </a:r>
          </a:p>
          <a:p>
            <a:pPr lvl="0" defTabSz="914400">
              <a:lnSpc>
                <a:spcPct val="150000"/>
              </a:lnSpc>
              <a:defRPr/>
            </a:pPr>
            <a:r>
              <a:rPr lang="en-US" sz="1400" b="1" kern="0" dirty="0">
                <a:latin typeface="Lato"/>
                <a:cs typeface="Segoe UI Semilight" panose="020B0402040204020203" pitchFamily="34" charset="0"/>
              </a:rPr>
              <a:t>Monitoring dashboards with alerts</a:t>
            </a:r>
          </a:p>
          <a:p>
            <a:pPr marL="285750" lvl="0" indent="-2857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fr-FR" sz="1400" kern="0" dirty="0">
                <a:latin typeface="Lato"/>
                <a:cs typeface="Segoe UI Semilight" panose="020B0402040204020203" pitchFamily="34" charset="0"/>
              </a:rPr>
              <a:t>List of monitoring </a:t>
            </a:r>
            <a:r>
              <a:rPr lang="fr-FR" sz="1400" kern="0" dirty="0" err="1">
                <a:latin typeface="Lato"/>
                <a:cs typeface="Segoe UI Semilight" panose="020B0402040204020203" pitchFamily="34" charset="0"/>
              </a:rPr>
              <a:t>measures</a:t>
            </a:r>
            <a:r>
              <a:rPr lang="fr-FR" sz="1400" kern="0" dirty="0">
                <a:latin typeface="Lato"/>
                <a:cs typeface="Segoe UI Semilight" panose="020B0402040204020203" pitchFamily="34" charset="0"/>
              </a:rPr>
              <a:t> per </a:t>
            </a:r>
            <a:r>
              <a:rPr lang="fr-FR" sz="1400" kern="0" dirty="0" err="1">
                <a:latin typeface="Lato"/>
                <a:cs typeface="Segoe UI Semilight" panose="020B0402040204020203" pitchFamily="34" charset="0"/>
              </a:rPr>
              <a:t>dataflow</a:t>
            </a:r>
            <a:r>
              <a:rPr lang="fr-FR" sz="1400" kern="0" dirty="0">
                <a:latin typeface="Lato"/>
                <a:cs typeface="Segoe UI Semilight" panose="020B0402040204020203" pitchFamily="34" charset="0"/>
              </a:rPr>
              <a:t> </a:t>
            </a:r>
            <a:r>
              <a:rPr lang="fr-FR" sz="1400" kern="0" dirty="0" err="1">
                <a:latin typeface="Lato"/>
                <a:cs typeface="Segoe UI Semilight" panose="020B0402040204020203" pitchFamily="34" charset="0"/>
              </a:rPr>
              <a:t>eg</a:t>
            </a:r>
            <a:r>
              <a:rPr lang="fr-FR" sz="1400" kern="0" dirty="0">
                <a:latin typeface="Lato"/>
                <a:cs typeface="Segoe UI Semilight" panose="020B0402040204020203" pitchFamily="34" charset="0"/>
              </a:rPr>
              <a:t>: max(</a:t>
            </a:r>
            <a:r>
              <a:rPr lang="fr-FR" sz="1400" kern="0" dirty="0" err="1">
                <a:latin typeface="Lato"/>
                <a:cs typeface="Segoe UI Semilight" panose="020B0402040204020203" pitchFamily="34" charset="0"/>
              </a:rPr>
              <a:t>created</a:t>
            </a:r>
            <a:r>
              <a:rPr lang="fr-FR" sz="1400" kern="0" dirty="0">
                <a:latin typeface="Lato"/>
                <a:cs typeface="Segoe UI Semilight" panose="020B0402040204020203" pitchFamily="34" charset="0"/>
              </a:rPr>
              <a:t> date), min (</a:t>
            </a:r>
            <a:r>
              <a:rPr lang="fr-FR" sz="1400" kern="0" dirty="0" err="1">
                <a:latin typeface="Lato"/>
                <a:cs typeface="Segoe UI Semilight" panose="020B0402040204020203" pitchFamily="34" charset="0"/>
              </a:rPr>
              <a:t>created</a:t>
            </a:r>
            <a:r>
              <a:rPr lang="fr-FR" sz="1400" kern="0" dirty="0">
                <a:latin typeface="Lato"/>
                <a:cs typeface="Segoe UI Semilight" panose="020B0402040204020203" pitchFamily="34" charset="0"/>
              </a:rPr>
              <a:t> date), </a:t>
            </a:r>
            <a:r>
              <a:rPr lang="fr-FR" sz="1400" kern="0" dirty="0" err="1">
                <a:latin typeface="Lato"/>
                <a:cs typeface="Segoe UI Semilight" panose="020B0402040204020203" pitchFamily="34" charset="0"/>
              </a:rPr>
              <a:t>number</a:t>
            </a:r>
            <a:r>
              <a:rPr lang="fr-FR" sz="1400" kern="0" dirty="0">
                <a:latin typeface="Lato"/>
                <a:cs typeface="Segoe UI Semilight" panose="020B0402040204020203" pitchFamily="34" charset="0"/>
              </a:rPr>
              <a:t> of records</a:t>
            </a:r>
          </a:p>
          <a:p>
            <a:pPr marL="285750" lvl="0" indent="-2857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fr-FR" sz="1400" kern="0" dirty="0" err="1">
                <a:latin typeface="Lato"/>
                <a:cs typeface="Segoe UI Semilight" panose="020B0402040204020203" pitchFamily="34" charset="0"/>
              </a:rPr>
              <a:t>Send</a:t>
            </a:r>
            <a:r>
              <a:rPr lang="fr-FR" sz="1400" kern="0" dirty="0">
                <a:latin typeface="Lato"/>
                <a:cs typeface="Segoe UI Semilight" panose="020B0402040204020203" pitchFamily="34" charset="0"/>
              </a:rPr>
              <a:t> </a:t>
            </a:r>
            <a:r>
              <a:rPr lang="fr-FR" sz="1400" kern="0" dirty="0" err="1">
                <a:latin typeface="Lato"/>
                <a:cs typeface="Segoe UI Semilight" panose="020B0402040204020203" pitchFamily="34" charset="0"/>
              </a:rPr>
              <a:t>alerts</a:t>
            </a:r>
            <a:r>
              <a:rPr lang="fr-FR" sz="1400" kern="0" dirty="0">
                <a:latin typeface="Lato"/>
                <a:cs typeface="Segoe UI Semilight" panose="020B0402040204020203" pitchFamily="34" charset="0"/>
              </a:rPr>
              <a:t> </a:t>
            </a:r>
            <a:r>
              <a:rPr lang="fr-FR" sz="1400" kern="0" dirty="0" err="1">
                <a:latin typeface="Lato"/>
                <a:cs typeface="Segoe UI Semilight" panose="020B0402040204020203" pitchFamily="34" charset="0"/>
              </a:rPr>
              <a:t>based</a:t>
            </a:r>
            <a:r>
              <a:rPr lang="fr-FR" sz="1400" kern="0" dirty="0">
                <a:latin typeface="Lato"/>
                <a:cs typeface="Segoe UI Semilight" panose="020B0402040204020203" pitchFamily="34" charset="0"/>
              </a:rPr>
              <a:t> on </a:t>
            </a:r>
            <a:r>
              <a:rPr lang="fr-FR" sz="1400" kern="0" dirty="0" err="1">
                <a:latin typeface="Lato"/>
                <a:cs typeface="Segoe UI Semilight" panose="020B0402040204020203" pitchFamily="34" charset="0"/>
              </a:rPr>
              <a:t>threshold</a:t>
            </a:r>
            <a:endParaRPr lang="fr-FR" sz="1400" kern="0" dirty="0">
              <a:latin typeface="Lato"/>
              <a:cs typeface="Segoe UI Semilight" panose="020B0402040204020203" pitchFamily="34" charset="0"/>
            </a:endParaRPr>
          </a:p>
          <a:p>
            <a:pPr marL="285750" lvl="0" indent="-2857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1400" kern="0" dirty="0">
              <a:latin typeface="Lato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0799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6104" y="492851"/>
            <a:ext cx="6486810" cy="475157"/>
          </a:xfrm>
        </p:spPr>
        <p:txBody>
          <a:bodyPr>
            <a:normAutofit/>
          </a:bodyPr>
          <a:lstStyle/>
          <a:p>
            <a:r>
              <a:rPr lang="en-US" dirty="0"/>
              <a:t>DTE relaunch - Scop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601013" y="6361287"/>
            <a:ext cx="317321" cy="36618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F948E5-A22C-49F8-A34D-A330035CEC22}" type="slidenum"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0067B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0067B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5F730E0-AC88-422D-8173-E41180AC3BAF}"/>
              </a:ext>
            </a:extLst>
          </p:cNvPr>
          <p:cNvSpPr/>
          <p:nvPr/>
        </p:nvSpPr>
        <p:spPr bwMode="gray">
          <a:xfrm>
            <a:off x="1685557" y="6093347"/>
            <a:ext cx="1196564" cy="53587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54BA95"/>
              </a:gs>
              <a:gs pos="100000">
                <a:srgbClr val="27A8C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en-GB" sz="1400" b="1" dirty="0">
                <a:solidFill>
                  <a:srgbClr val="FFFFFF"/>
                </a:solidFill>
                <a:latin typeface="Lato"/>
                <a:cs typeface="Segoe UI Semilight" panose="020B0402040204020203" pitchFamily="34" charset="0"/>
              </a:rPr>
              <a:t>Lead Gen 1</a:t>
            </a:r>
            <a:endParaRPr lang="en-US" sz="1400" b="1" dirty="0">
              <a:solidFill>
                <a:srgbClr val="FFFFFF"/>
              </a:solidFill>
              <a:latin typeface="Lato"/>
              <a:cs typeface="Segoe UI Semilight" panose="020B04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1F073BB-9767-481C-A6B8-7F1ED8209449}"/>
              </a:ext>
            </a:extLst>
          </p:cNvPr>
          <p:cNvSpPr/>
          <p:nvPr/>
        </p:nvSpPr>
        <p:spPr bwMode="gray">
          <a:xfrm>
            <a:off x="2064640" y="4251509"/>
            <a:ext cx="1196564" cy="53587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5E6274">
                  <a:lumMod val="60000"/>
                  <a:lumOff val="40000"/>
                </a:srgbClr>
              </a:gs>
              <a:gs pos="100000">
                <a:srgbClr val="6E7388"/>
              </a:gs>
            </a:gsLst>
            <a:lin ang="8100000" scaled="1"/>
          </a:gradFill>
          <a:ln w="127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/>
            <a:r>
              <a:rPr lang="en-GB" sz="1400" b="1" kern="0" dirty="0">
                <a:solidFill>
                  <a:srgbClr val="FFFFFF"/>
                </a:solidFill>
                <a:latin typeface="Lato"/>
              </a:rPr>
              <a:t>Premium</a:t>
            </a:r>
            <a:endParaRPr lang="en-US" sz="1400" b="1" kern="0" dirty="0">
              <a:solidFill>
                <a:srgbClr val="FFFFFF"/>
              </a:solidFill>
              <a:latin typeface="Lato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8A80985-E9D5-4D30-AE5E-2A52384A7110}"/>
              </a:ext>
            </a:extLst>
          </p:cNvPr>
          <p:cNvSpPr txBox="1"/>
          <p:nvPr/>
        </p:nvSpPr>
        <p:spPr>
          <a:xfrm>
            <a:off x="364699" y="1742162"/>
            <a:ext cx="1639446" cy="495591"/>
          </a:xfrm>
          <a:prstGeom prst="homePlat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54000">
                <a:schemeClr val="accent1">
                  <a:lumMod val="40000"/>
                  <a:lumOff val="60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2700000" scaled="1"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l" defTabSz="171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srgbClr val="0019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stration via TL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4D7A042-3332-4F05-9290-74C281A83F32}"/>
              </a:ext>
            </a:extLst>
          </p:cNvPr>
          <p:cNvSpPr txBox="1"/>
          <p:nvPr/>
        </p:nvSpPr>
        <p:spPr>
          <a:xfrm>
            <a:off x="1120770" y="3321929"/>
            <a:ext cx="1766749" cy="286734"/>
          </a:xfrm>
          <a:prstGeom prst="homePlat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54000">
                <a:schemeClr val="accent1">
                  <a:lumMod val="40000"/>
                  <a:lumOff val="60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2700000" scaled="1"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l" defTabSz="171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kern="0" dirty="0">
                <a:solidFill>
                  <a:srgbClr val="001971"/>
                </a:solidFill>
                <a:latin typeface="Calibri" panose="020F0502020204030204"/>
              </a:rPr>
              <a:t>Sales Data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srgbClr val="0019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12AA43B-EB5B-4942-9F60-3A61A8E27BAA}"/>
              </a:ext>
            </a:extLst>
          </p:cNvPr>
          <p:cNvSpPr txBox="1"/>
          <p:nvPr/>
        </p:nvSpPr>
        <p:spPr>
          <a:xfrm>
            <a:off x="6579593" y="1745653"/>
            <a:ext cx="1639445" cy="501963"/>
          </a:xfrm>
          <a:prstGeom prst="homePlat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54000">
                <a:schemeClr val="accent1">
                  <a:lumMod val="40000"/>
                  <a:lumOff val="60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2700000" scaled="1"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l" defTabSz="171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kern="0" dirty="0">
                <a:solidFill>
                  <a:srgbClr val="001971"/>
                </a:solidFill>
                <a:latin typeface="Calibri" panose="020F0502020204030204"/>
              </a:rPr>
              <a:t>Receive points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srgbClr val="0019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82391654-F2B9-43B7-ACFC-32B1864E8690}"/>
              </a:ext>
            </a:extLst>
          </p:cNvPr>
          <p:cNvSpPr/>
          <p:nvPr/>
        </p:nvSpPr>
        <p:spPr bwMode="gray">
          <a:xfrm>
            <a:off x="3472343" y="3192355"/>
            <a:ext cx="973655" cy="1083750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25FAA94-A99E-415E-B3CB-443EDBFE1825}"/>
              </a:ext>
            </a:extLst>
          </p:cNvPr>
          <p:cNvSpPr txBox="1"/>
          <p:nvPr/>
        </p:nvSpPr>
        <p:spPr>
          <a:xfrm>
            <a:off x="3392624" y="3416358"/>
            <a:ext cx="1107830" cy="7386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DTE</a:t>
            </a:r>
          </a:p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RaaS</a:t>
            </a:r>
          </a:p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(PMI OC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79F6097-87BD-403A-81E7-E382B72B7E51}"/>
              </a:ext>
            </a:extLst>
          </p:cNvPr>
          <p:cNvSpPr txBox="1"/>
          <p:nvPr/>
        </p:nvSpPr>
        <p:spPr>
          <a:xfrm>
            <a:off x="8420335" y="1745653"/>
            <a:ext cx="1639445" cy="501963"/>
          </a:xfrm>
          <a:prstGeom prst="homePlat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54000">
                <a:schemeClr val="accent1">
                  <a:lumMod val="40000"/>
                  <a:lumOff val="60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2700000" scaled="1"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l" defTabSz="171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kern="0" dirty="0">
                <a:solidFill>
                  <a:srgbClr val="001971"/>
                </a:solidFill>
                <a:latin typeface="Calibri" panose="020F0502020204030204"/>
              </a:rPr>
              <a:t>Redeem points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srgbClr val="0019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9DFE7F-DAA1-4F7C-9C54-A292CD8A2101}"/>
              </a:ext>
            </a:extLst>
          </p:cNvPr>
          <p:cNvSpPr txBox="1"/>
          <p:nvPr/>
        </p:nvSpPr>
        <p:spPr>
          <a:xfrm>
            <a:off x="4587544" y="2423121"/>
            <a:ext cx="1766749" cy="496944"/>
          </a:xfrm>
          <a:prstGeom prst="homePlat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54000">
                <a:schemeClr val="accent1">
                  <a:lumMod val="40000"/>
                  <a:lumOff val="60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2700000" scaled="1"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l" defTabSz="171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kern="0" dirty="0">
                <a:solidFill>
                  <a:srgbClr val="001971"/>
                </a:solidFill>
                <a:latin typeface="Calibri" panose="020F0502020204030204"/>
              </a:rPr>
              <a:t>Physical lending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srgbClr val="0019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72C84B1-953E-404D-9A2C-396C6A1DD940}"/>
              </a:ext>
            </a:extLst>
          </p:cNvPr>
          <p:cNvSpPr txBox="1"/>
          <p:nvPr/>
        </p:nvSpPr>
        <p:spPr>
          <a:xfrm>
            <a:off x="4583884" y="4519449"/>
            <a:ext cx="1766749" cy="496944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en-AU"/>
              <a:t>Self registration</a:t>
            </a:r>
            <a:endParaRPr lang="en-AU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ABE89CB-1050-4B8D-B464-7EEA66698722}"/>
              </a:ext>
            </a:extLst>
          </p:cNvPr>
          <p:cNvSpPr txBox="1"/>
          <p:nvPr/>
        </p:nvSpPr>
        <p:spPr>
          <a:xfrm>
            <a:off x="4554911" y="3174274"/>
            <a:ext cx="1766749" cy="496944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l" defTabSz="171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kern="0" dirty="0">
                <a:solidFill>
                  <a:srgbClr val="001971"/>
                </a:solidFill>
                <a:latin typeface="Calibri" panose="020F0502020204030204"/>
              </a:rPr>
              <a:t>QURE 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srgbClr val="0019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FDF3666-8D28-4110-8236-099A11171C0E}"/>
              </a:ext>
            </a:extLst>
          </p:cNvPr>
          <p:cNvSpPr txBox="1"/>
          <p:nvPr/>
        </p:nvSpPr>
        <p:spPr>
          <a:xfrm>
            <a:off x="4583884" y="5124336"/>
            <a:ext cx="1766749" cy="496944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l" defTabSz="171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kern="0" dirty="0">
                <a:solidFill>
                  <a:srgbClr val="001971"/>
                </a:solidFill>
                <a:latin typeface="Calibri" panose="020F0502020204030204"/>
              </a:rPr>
              <a:t>GIVE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srgbClr val="0019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5C3D5AF-E54B-4BD7-ACFB-1151C243DE17}"/>
              </a:ext>
            </a:extLst>
          </p:cNvPr>
          <p:cNvSpPr txBox="1"/>
          <p:nvPr/>
        </p:nvSpPr>
        <p:spPr>
          <a:xfrm>
            <a:off x="4583884" y="5729223"/>
            <a:ext cx="1766749" cy="496944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l" defTabSz="171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kern="0" dirty="0">
                <a:solidFill>
                  <a:srgbClr val="001971"/>
                </a:solidFill>
                <a:latin typeface="Calibri" panose="020F0502020204030204"/>
              </a:rPr>
              <a:t>MGM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srgbClr val="0019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8F19872E-2E02-4FF1-82A3-1086A722A5B5}"/>
              </a:ext>
            </a:extLst>
          </p:cNvPr>
          <p:cNvSpPr/>
          <p:nvPr/>
        </p:nvSpPr>
        <p:spPr bwMode="gray">
          <a:xfrm>
            <a:off x="3306618" y="3100590"/>
            <a:ext cx="3272975" cy="3260698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BABAD74A-2ECD-4039-A441-72444783E664}"/>
              </a:ext>
            </a:extLst>
          </p:cNvPr>
          <p:cNvSpPr/>
          <p:nvPr/>
        </p:nvSpPr>
        <p:spPr bwMode="gray">
          <a:xfrm>
            <a:off x="3306618" y="1697881"/>
            <a:ext cx="3205018" cy="1335195"/>
          </a:xfrm>
          <a:prstGeom prst="roundRect">
            <a:avLst>
              <a:gd name="adj" fmla="val 6577"/>
            </a:avLst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E24411F-B5C8-4FB1-AB75-8C2D097FCB7C}"/>
              </a:ext>
            </a:extLst>
          </p:cNvPr>
          <p:cNvSpPr txBox="1"/>
          <p:nvPr/>
        </p:nvSpPr>
        <p:spPr>
          <a:xfrm>
            <a:off x="4554910" y="3779161"/>
            <a:ext cx="1766749" cy="496944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l" defTabSz="171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kern="0" dirty="0">
                <a:solidFill>
                  <a:srgbClr val="001971"/>
                </a:solidFill>
                <a:latin typeface="Calibri" panose="020F0502020204030204"/>
              </a:rPr>
              <a:t>Device activation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srgbClr val="0019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AB034E46-855A-4512-A741-62F8B97D28E1}"/>
              </a:ext>
            </a:extLst>
          </p:cNvPr>
          <p:cNvSpPr/>
          <p:nvPr/>
        </p:nvSpPr>
        <p:spPr bwMode="gray">
          <a:xfrm>
            <a:off x="3501316" y="4519449"/>
            <a:ext cx="973655" cy="1701799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DF0B663-76B3-4603-B9D8-985E836A832E}"/>
              </a:ext>
            </a:extLst>
          </p:cNvPr>
          <p:cNvSpPr txBox="1"/>
          <p:nvPr/>
        </p:nvSpPr>
        <p:spPr>
          <a:xfrm>
            <a:off x="3434228" y="5164340"/>
            <a:ext cx="1107830" cy="7386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Local solution</a:t>
            </a:r>
          </a:p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(Isobar)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E68618C8-C975-4440-A10C-F8DCE0D0C70F}"/>
              </a:ext>
            </a:extLst>
          </p:cNvPr>
          <p:cNvSpPr/>
          <p:nvPr/>
        </p:nvSpPr>
        <p:spPr bwMode="gray">
          <a:xfrm>
            <a:off x="2360626" y="1119368"/>
            <a:ext cx="1846467" cy="391376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B0A5F76-E13F-42B8-843A-09A6871C369D}"/>
              </a:ext>
            </a:extLst>
          </p:cNvPr>
          <p:cNvSpPr txBox="1"/>
          <p:nvPr/>
        </p:nvSpPr>
        <p:spPr>
          <a:xfrm>
            <a:off x="2328519" y="1155415"/>
            <a:ext cx="186537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2017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D9BB162-1B20-442E-8C3C-7DEB0CC91E1A}"/>
              </a:ext>
            </a:extLst>
          </p:cNvPr>
          <p:cNvSpPr txBox="1"/>
          <p:nvPr/>
        </p:nvSpPr>
        <p:spPr>
          <a:xfrm>
            <a:off x="8420335" y="2334928"/>
            <a:ext cx="1394228" cy="98700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 anchor="t">
            <a:spAutoFit/>
          </a:bodyPr>
          <a:lstStyle/>
          <a:p>
            <a:pPr lvl="0" defTabSz="914400">
              <a:lnSpc>
                <a:spcPct val="150000"/>
              </a:lnSpc>
              <a:defRPr/>
            </a:pPr>
            <a:r>
              <a:rPr lang="fr-FR" sz="1000" i="1" kern="0" dirty="0">
                <a:latin typeface="Lato"/>
              </a:rPr>
              <a:t>Digital vouchers</a:t>
            </a:r>
          </a:p>
          <a:p>
            <a:pPr lvl="0" defTabSz="914400">
              <a:lnSpc>
                <a:spcPct val="150000"/>
              </a:lnSpc>
              <a:defRPr/>
            </a:pPr>
            <a:r>
              <a:rPr lang="fr-FR" sz="1000" i="1" kern="0" dirty="0">
                <a:latin typeface="Lato"/>
              </a:rPr>
              <a:t>Direct </a:t>
            </a:r>
            <a:r>
              <a:rPr lang="fr-FR" sz="1000" i="1" kern="0" dirty="0" err="1">
                <a:latin typeface="Lato"/>
              </a:rPr>
              <a:t>payment</a:t>
            </a:r>
            <a:r>
              <a:rPr lang="fr-FR" sz="1000" i="1" kern="0" dirty="0">
                <a:latin typeface="Lato"/>
              </a:rPr>
              <a:t> to </a:t>
            </a:r>
            <a:r>
              <a:rPr lang="fr-FR" sz="1000" i="1" kern="0" dirty="0" err="1">
                <a:latin typeface="Lato"/>
              </a:rPr>
              <a:t>chain</a:t>
            </a:r>
            <a:r>
              <a:rPr lang="fr-FR" sz="1000" i="1" kern="0" dirty="0">
                <a:latin typeface="Lato"/>
              </a:rPr>
              <a:t> or Shop </a:t>
            </a:r>
            <a:r>
              <a:rPr lang="fr-FR" sz="1000" i="1" kern="0" dirty="0" err="1">
                <a:latin typeface="Lato"/>
              </a:rPr>
              <a:t>owner</a:t>
            </a:r>
            <a:r>
              <a:rPr lang="fr-FR" sz="1000" i="1" kern="0" dirty="0">
                <a:latin typeface="Lato"/>
              </a:rPr>
              <a:t> (</a:t>
            </a:r>
            <a:r>
              <a:rPr lang="fr-FR" sz="1000" i="1" kern="0" dirty="0" err="1">
                <a:latin typeface="Lato"/>
              </a:rPr>
              <a:t>Paytrade</a:t>
            </a:r>
            <a:r>
              <a:rPr lang="fr-FR" sz="1000" i="1" kern="0" dirty="0">
                <a:latin typeface="Lato"/>
              </a:rPr>
              <a:t>)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AC6BEDD-CF44-4B3E-82E8-D3C4E7AFA537}"/>
              </a:ext>
            </a:extLst>
          </p:cNvPr>
          <p:cNvSpPr txBox="1"/>
          <p:nvPr/>
        </p:nvSpPr>
        <p:spPr>
          <a:xfrm>
            <a:off x="3462501" y="2032387"/>
            <a:ext cx="1107830" cy="7386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Local solution</a:t>
            </a:r>
          </a:p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(Isobar)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61AA605-9F58-4419-A7F3-1A20F576E245}"/>
              </a:ext>
            </a:extLst>
          </p:cNvPr>
          <p:cNvSpPr txBox="1"/>
          <p:nvPr/>
        </p:nvSpPr>
        <p:spPr>
          <a:xfrm>
            <a:off x="10261077" y="1740634"/>
            <a:ext cx="1639445" cy="501963"/>
          </a:xfrm>
          <a:prstGeom prst="homePlat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54000">
                <a:schemeClr val="accent1">
                  <a:lumMod val="40000"/>
                  <a:lumOff val="60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2700000" scaled="1"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l" defTabSz="171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kern="0" dirty="0" err="1">
                <a:solidFill>
                  <a:srgbClr val="001971"/>
                </a:solidFill>
                <a:latin typeface="Calibri" panose="020F0502020204030204"/>
              </a:rPr>
              <a:t>eCRM</a:t>
            </a:r>
            <a:r>
              <a:rPr lang="en-AU" sz="1400" kern="0" dirty="0">
                <a:solidFill>
                  <a:srgbClr val="001971"/>
                </a:solidFill>
                <a:latin typeface="Calibri" panose="020F0502020204030204"/>
              </a:rPr>
              <a:t> and communication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srgbClr val="0019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72079E22-DBBF-47AD-B3CE-F2FE96843F14}"/>
              </a:ext>
            </a:extLst>
          </p:cNvPr>
          <p:cNvSpPr/>
          <p:nvPr/>
        </p:nvSpPr>
        <p:spPr bwMode="gray">
          <a:xfrm>
            <a:off x="7732210" y="4153937"/>
            <a:ext cx="973655" cy="1083750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2817413-6D27-43D5-B20A-A896BA32774F}"/>
              </a:ext>
            </a:extLst>
          </p:cNvPr>
          <p:cNvSpPr/>
          <p:nvPr/>
        </p:nvSpPr>
        <p:spPr bwMode="gray">
          <a:xfrm>
            <a:off x="4428639" y="1119368"/>
            <a:ext cx="1846467" cy="391376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ED4F875-57B2-4C5E-99BC-B8049FBCE1CB}"/>
              </a:ext>
            </a:extLst>
          </p:cNvPr>
          <p:cNvSpPr txBox="1"/>
          <p:nvPr/>
        </p:nvSpPr>
        <p:spPr>
          <a:xfrm>
            <a:off x="4396532" y="1155415"/>
            <a:ext cx="186537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2018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DBCB2828-3ED8-4847-BFBD-1CF9B6B1A18E}"/>
              </a:ext>
            </a:extLst>
          </p:cNvPr>
          <p:cNvSpPr/>
          <p:nvPr/>
        </p:nvSpPr>
        <p:spPr bwMode="gray">
          <a:xfrm>
            <a:off x="6507976" y="1114585"/>
            <a:ext cx="1846467" cy="391376"/>
          </a:xfrm>
          <a:prstGeom prst="roundRect">
            <a:avLst>
              <a:gd name="adj" fmla="val 6577"/>
            </a:avLst>
          </a:prstGeom>
          <a:noFill/>
          <a:ln w="12700" cap="flat" cmpd="sng" algn="ctr">
            <a:solidFill>
              <a:srgbClr val="54BA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788" kern="0" dirty="0">
              <a:solidFill>
                <a:srgbClr val="595959"/>
              </a:solidFill>
              <a:latin typeface="Lato"/>
              <a:cs typeface="Segoe UI Semibold" panose="020B07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37E5DB2-5E31-4C1A-AAB4-AF710FDBC929}"/>
              </a:ext>
            </a:extLst>
          </p:cNvPr>
          <p:cNvSpPr txBox="1"/>
          <p:nvPr/>
        </p:nvSpPr>
        <p:spPr>
          <a:xfrm>
            <a:off x="6475869" y="1150632"/>
            <a:ext cx="186537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1" algn="ctr">
              <a:buClr>
                <a:srgbClr val="0070C0"/>
              </a:buClr>
            </a:pPr>
            <a:r>
              <a:rPr lang="en-US" sz="1400" b="1" dirty="0">
                <a:solidFill>
                  <a:srgbClr val="34ADC0"/>
                </a:solidFill>
                <a:latin typeface="Lato"/>
                <a:ea typeface="Segoe UI Black"/>
                <a:cs typeface="Segoe UI Semilight" panose="020B0402040204020203" pitchFamily="34" charset="0"/>
              </a:rPr>
              <a:t>2019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3C8770-4140-446F-838B-9EE69C8D2E6A}"/>
              </a:ext>
            </a:extLst>
          </p:cNvPr>
          <p:cNvSpPr txBox="1"/>
          <p:nvPr/>
        </p:nvSpPr>
        <p:spPr>
          <a:xfrm>
            <a:off x="2595104" y="1650329"/>
            <a:ext cx="1355071" cy="2867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dirty="0"/>
              <a:t>Sales data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03E1F5-1AF9-44AC-9682-895111FA5DCB}"/>
              </a:ext>
            </a:extLst>
          </p:cNvPr>
          <p:cNvSpPr txBox="1"/>
          <p:nvPr/>
        </p:nvSpPr>
        <p:spPr>
          <a:xfrm>
            <a:off x="2595104" y="2312121"/>
            <a:ext cx="1355071" cy="2867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dirty="0" err="1"/>
              <a:t>XLCubed</a:t>
            </a:r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1C555EB-0F6A-4976-B59A-6B310E915DAE}"/>
              </a:ext>
            </a:extLst>
          </p:cNvPr>
          <p:cNvSpPr txBox="1"/>
          <p:nvPr/>
        </p:nvSpPr>
        <p:spPr>
          <a:xfrm>
            <a:off x="2604099" y="2663555"/>
            <a:ext cx="1355071" cy="28673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1971"/>
                </a:solidFill>
                <a:latin typeface="Calibri" panose="020F0502020204030204"/>
              </a:defRPr>
            </a:lvl1pPr>
          </a:lstStyle>
          <a:p>
            <a:r>
              <a:rPr lang="fr-FR" dirty="0" err="1"/>
              <a:t>Sharepoi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341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.EgmfVRkO9AAEkG9va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.EgmfVRkO9AAEkG9va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MI Theme">
  <a:themeElements>
    <a:clrScheme name="003ca6 1">
      <a:dk1>
        <a:srgbClr val="001971"/>
      </a:dk1>
      <a:lt1>
        <a:srgbClr val="FFFFFF"/>
      </a:lt1>
      <a:dk2>
        <a:srgbClr val="44546A"/>
      </a:dk2>
      <a:lt2>
        <a:srgbClr val="E7E6E6"/>
      </a:lt2>
      <a:accent1>
        <a:srgbClr val="003CA6"/>
      </a:accent1>
      <a:accent2>
        <a:srgbClr val="A8178D"/>
      </a:accent2>
      <a:accent3>
        <a:srgbClr val="069CDC"/>
      </a:accent3>
      <a:accent4>
        <a:srgbClr val="00584D"/>
      </a:accent4>
      <a:accent5>
        <a:srgbClr val="3EBFAC"/>
      </a:accent5>
      <a:accent6>
        <a:srgbClr val="3E1051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MI Theme" id="{DB30DEBD-DC58-4727-867C-79E3AF97D6B8}" vid="{05E1D3B6-A2F0-45FC-B5E8-3DDA1EBD2F73}"/>
    </a:ext>
  </a:extLst>
</a:theme>
</file>

<file path=ppt/theme/theme2.xml><?xml version="1.0" encoding="utf-8"?>
<a:theme xmlns:a="http://schemas.openxmlformats.org/drawingml/2006/main" name="PMI IT Template Theme Slidebar">
  <a:themeElements>
    <a:clrScheme name="003ca6 1">
      <a:dk1>
        <a:srgbClr val="001971"/>
      </a:dk1>
      <a:lt1>
        <a:srgbClr val="FFFFFF"/>
      </a:lt1>
      <a:dk2>
        <a:srgbClr val="44546A"/>
      </a:dk2>
      <a:lt2>
        <a:srgbClr val="E7E6E6"/>
      </a:lt2>
      <a:accent1>
        <a:srgbClr val="003CA6"/>
      </a:accent1>
      <a:accent2>
        <a:srgbClr val="A8178D"/>
      </a:accent2>
      <a:accent3>
        <a:srgbClr val="069CDC"/>
      </a:accent3>
      <a:accent4>
        <a:srgbClr val="00584D"/>
      </a:accent4>
      <a:accent5>
        <a:srgbClr val="3EBFAC"/>
      </a:accent5>
      <a:accent6>
        <a:srgbClr val="3E1051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MI IT Template Theme Slidebar" id="{7264C300-5144-49DE-A600-89AF7E4D51DC}" vid="{0389E7BF-3310-45C0-8F43-34B3C4EDBBE8}"/>
    </a:ext>
  </a:extLst>
</a:theme>
</file>

<file path=ppt/theme/theme3.xml><?xml version="1.0" encoding="utf-8"?>
<a:theme xmlns:a="http://schemas.openxmlformats.org/drawingml/2006/main" name="PMI IT Template Theme">
  <a:themeElements>
    <a:clrScheme name="003ca6 1">
      <a:dk1>
        <a:srgbClr val="001971"/>
      </a:dk1>
      <a:lt1>
        <a:srgbClr val="FFFFFF"/>
      </a:lt1>
      <a:dk2>
        <a:srgbClr val="44546A"/>
      </a:dk2>
      <a:lt2>
        <a:srgbClr val="E7E6E6"/>
      </a:lt2>
      <a:accent1>
        <a:srgbClr val="003CA6"/>
      </a:accent1>
      <a:accent2>
        <a:srgbClr val="A8178D"/>
      </a:accent2>
      <a:accent3>
        <a:srgbClr val="069CDC"/>
      </a:accent3>
      <a:accent4>
        <a:srgbClr val="00584D"/>
      </a:accent4>
      <a:accent5>
        <a:srgbClr val="3EBFAC"/>
      </a:accent5>
      <a:accent6>
        <a:srgbClr val="3E1051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MI IT Template Theme" id="{3E51BE91-698B-441C-9035-1ED3CE69A829}" vid="{7E3DCB63-D2A0-4457-8D69-CE8AF56FD759}"/>
    </a:ext>
  </a:extLst>
</a:theme>
</file>

<file path=ppt/theme/theme4.xml><?xml version="1.0" encoding="utf-8"?>
<a:theme xmlns:a="http://schemas.openxmlformats.org/drawingml/2006/main" name="6_Master">
  <a:themeElements>
    <a:clrScheme name="2_Title 16">
      <a:dk1>
        <a:srgbClr val="808080"/>
      </a:dk1>
      <a:lt1>
        <a:srgbClr val="F8F8F8"/>
      </a:lt1>
      <a:dk2>
        <a:srgbClr val="0067B1"/>
      </a:dk2>
      <a:lt2>
        <a:srgbClr val="000000"/>
      </a:lt2>
      <a:accent1>
        <a:srgbClr val="009DDC"/>
      </a:accent1>
      <a:accent2>
        <a:srgbClr val="538E3F"/>
      </a:accent2>
      <a:accent3>
        <a:srgbClr val="AAB8D5"/>
      </a:accent3>
      <a:accent4>
        <a:srgbClr val="D4D4D4"/>
      </a:accent4>
      <a:accent5>
        <a:srgbClr val="AACCEB"/>
      </a:accent5>
      <a:accent6>
        <a:srgbClr val="4A8038"/>
      </a:accent6>
      <a:hlink>
        <a:srgbClr val="F99B1C"/>
      </a:hlink>
      <a:folHlink>
        <a:srgbClr val="BA1319"/>
      </a:folHlink>
    </a:clrScheme>
    <a:fontScheme name="2_Tit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28575">
          <a:headEnd type="none" w="med" len="med"/>
          <a:tailEnd type="none" w="med" len="med"/>
        </a:ln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effectLst/>
            <a:latin typeface="Arial" charset="0"/>
            <a:ea typeface="ＭＳ Ｐゴシック" pitchFamily="34" charset="-128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 bwMode="auto">
        <a:ln w="12700">
          <a:solidFill>
            <a:schemeClr val="bg1"/>
          </a:solidFill>
          <a:prstDash val="solid"/>
          <a:headEnd type="none" w="med" len="med"/>
          <a:tailEnd type="triangle" w="med" len="med"/>
        </a:ln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100" dirty="0" smtClean="0">
            <a:solidFill>
              <a:schemeClr val="tx2"/>
            </a:solidFill>
          </a:defRPr>
        </a:defPPr>
      </a:lstStyle>
    </a:txDef>
  </a:objectDefaults>
  <a:extraClrSchemeLst>
    <a:extraClrScheme>
      <a:clrScheme name="2_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3">
        <a:dk1>
          <a:srgbClr val="000000"/>
        </a:dk1>
        <a:lt1>
          <a:srgbClr val="0067B1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AAB8D5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14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BBE0E3"/>
        </a:accent1>
        <a:accent2>
          <a:srgbClr val="333399"/>
        </a:accent2>
        <a:accent3>
          <a:srgbClr val="AAB8D5"/>
        </a:accent3>
        <a:accent4>
          <a:srgbClr val="D4D4D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5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009DDC"/>
        </a:accent1>
        <a:accent2>
          <a:srgbClr val="333399"/>
        </a:accent2>
        <a:accent3>
          <a:srgbClr val="AAB8D5"/>
        </a:accent3>
        <a:accent4>
          <a:srgbClr val="D4D4D4"/>
        </a:accent4>
        <a:accent5>
          <a:srgbClr val="AACCEB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6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009DDC"/>
        </a:accent1>
        <a:accent2>
          <a:srgbClr val="538E3F"/>
        </a:accent2>
        <a:accent3>
          <a:srgbClr val="AAB8D5"/>
        </a:accent3>
        <a:accent4>
          <a:srgbClr val="D4D4D4"/>
        </a:accent4>
        <a:accent5>
          <a:srgbClr val="AACCEB"/>
        </a:accent5>
        <a:accent6>
          <a:srgbClr val="4A8038"/>
        </a:accent6>
        <a:hlink>
          <a:srgbClr val="F99B1C"/>
        </a:hlink>
        <a:folHlink>
          <a:srgbClr val="BA131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Master">
  <a:themeElements>
    <a:clrScheme name="2_Title 16">
      <a:dk1>
        <a:srgbClr val="808080"/>
      </a:dk1>
      <a:lt1>
        <a:srgbClr val="F8F8F8"/>
      </a:lt1>
      <a:dk2>
        <a:srgbClr val="0067B1"/>
      </a:dk2>
      <a:lt2>
        <a:srgbClr val="000000"/>
      </a:lt2>
      <a:accent1>
        <a:srgbClr val="009DDC"/>
      </a:accent1>
      <a:accent2>
        <a:srgbClr val="538E3F"/>
      </a:accent2>
      <a:accent3>
        <a:srgbClr val="AAB8D5"/>
      </a:accent3>
      <a:accent4>
        <a:srgbClr val="D4D4D4"/>
      </a:accent4>
      <a:accent5>
        <a:srgbClr val="AACCEB"/>
      </a:accent5>
      <a:accent6>
        <a:srgbClr val="4A8038"/>
      </a:accent6>
      <a:hlink>
        <a:srgbClr val="F99B1C"/>
      </a:hlink>
      <a:folHlink>
        <a:srgbClr val="BA1319"/>
      </a:folHlink>
    </a:clrScheme>
    <a:fontScheme name="2_Tit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28575">
          <a:headEnd type="none" w="med" len="med"/>
          <a:tailEnd type="none" w="med" len="med"/>
        </a:ln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effectLst/>
            <a:latin typeface="Arial" charset="0"/>
            <a:ea typeface="ＭＳ Ｐゴシック" pitchFamily="34" charset="-128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 bwMode="auto">
        <a:ln w="57150">
          <a:solidFill>
            <a:schemeClr val="bg1"/>
          </a:solidFill>
          <a:prstDash val="solid"/>
          <a:headEnd type="triangle"/>
          <a:tailEnd type="triangle"/>
        </a:ln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3">
        <a:dk1>
          <a:srgbClr val="000000"/>
        </a:dk1>
        <a:lt1>
          <a:srgbClr val="0067B1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AAB8D5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14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BBE0E3"/>
        </a:accent1>
        <a:accent2>
          <a:srgbClr val="333399"/>
        </a:accent2>
        <a:accent3>
          <a:srgbClr val="AAB8D5"/>
        </a:accent3>
        <a:accent4>
          <a:srgbClr val="D4D4D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5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009DDC"/>
        </a:accent1>
        <a:accent2>
          <a:srgbClr val="333399"/>
        </a:accent2>
        <a:accent3>
          <a:srgbClr val="AAB8D5"/>
        </a:accent3>
        <a:accent4>
          <a:srgbClr val="D4D4D4"/>
        </a:accent4>
        <a:accent5>
          <a:srgbClr val="AACCEB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6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009DDC"/>
        </a:accent1>
        <a:accent2>
          <a:srgbClr val="538E3F"/>
        </a:accent2>
        <a:accent3>
          <a:srgbClr val="AAB8D5"/>
        </a:accent3>
        <a:accent4>
          <a:srgbClr val="D4D4D4"/>
        </a:accent4>
        <a:accent5>
          <a:srgbClr val="AACCEB"/>
        </a:accent5>
        <a:accent6>
          <a:srgbClr val="4A8038"/>
        </a:accent6>
        <a:hlink>
          <a:srgbClr val="F99B1C"/>
        </a:hlink>
        <a:folHlink>
          <a:srgbClr val="BA131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Master">
  <a:themeElements>
    <a:clrScheme name="Custom 2">
      <a:dk1>
        <a:srgbClr val="0070C0"/>
      </a:dk1>
      <a:lt1>
        <a:srgbClr val="0070C0"/>
      </a:lt1>
      <a:dk2>
        <a:srgbClr val="FFFFFF"/>
      </a:dk2>
      <a:lt2>
        <a:srgbClr val="FFFFFF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2_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3">
        <a:dk1>
          <a:srgbClr val="000000"/>
        </a:dk1>
        <a:lt1>
          <a:srgbClr val="0067B1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AAB8D5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14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BBE0E3"/>
        </a:accent1>
        <a:accent2>
          <a:srgbClr val="333399"/>
        </a:accent2>
        <a:accent3>
          <a:srgbClr val="AAB8D5"/>
        </a:accent3>
        <a:accent4>
          <a:srgbClr val="D4D4D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5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009DDC"/>
        </a:accent1>
        <a:accent2>
          <a:srgbClr val="333399"/>
        </a:accent2>
        <a:accent3>
          <a:srgbClr val="AAB8D5"/>
        </a:accent3>
        <a:accent4>
          <a:srgbClr val="D4D4D4"/>
        </a:accent4>
        <a:accent5>
          <a:srgbClr val="AACCEB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6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009DDC"/>
        </a:accent1>
        <a:accent2>
          <a:srgbClr val="538E3F"/>
        </a:accent2>
        <a:accent3>
          <a:srgbClr val="AAB8D5"/>
        </a:accent3>
        <a:accent4>
          <a:srgbClr val="D4D4D4"/>
        </a:accent4>
        <a:accent5>
          <a:srgbClr val="AACCEB"/>
        </a:accent5>
        <a:accent6>
          <a:srgbClr val="4A8038"/>
        </a:accent6>
        <a:hlink>
          <a:srgbClr val="F99B1C"/>
        </a:hlink>
        <a:folHlink>
          <a:srgbClr val="BA131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DC047D5E0EBB4880D33EE4C09CA284" ma:contentTypeVersion="11" ma:contentTypeDescription="Create a new document." ma:contentTypeScope="" ma:versionID="ac881546347aa1d6829534d6f841dd0e">
  <xsd:schema xmlns:xsd="http://www.w3.org/2001/XMLSchema" xmlns:xs="http://www.w3.org/2001/XMLSchema" xmlns:p="http://schemas.microsoft.com/office/2006/metadata/properties" xmlns:ns3="a94926e9-160e-4e05-ac58-a7a94d893918" xmlns:ns4="f7f1ad80-da9a-4b1d-981a-bd28f10e4c87" targetNamespace="http://schemas.microsoft.com/office/2006/metadata/properties" ma:root="true" ma:fieldsID="e9b9a33f3dec6705b34bc3ca01c2a65d" ns3:_="" ns4:_="">
    <xsd:import namespace="a94926e9-160e-4e05-ac58-a7a94d893918"/>
    <xsd:import namespace="f7f1ad80-da9a-4b1d-981a-bd28f10e4c8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4926e9-160e-4e05-ac58-a7a94d8939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f1ad80-da9a-4b1d-981a-bd28f10e4c8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E1D5FAC-92C7-484E-99BD-4C16705ABD22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infopath/2007/PartnerControls"/>
    <ds:schemaRef ds:uri="http://purl.org/dc/elements/1.1/"/>
    <ds:schemaRef ds:uri="f7f1ad80-da9a-4b1d-981a-bd28f10e4c87"/>
    <ds:schemaRef ds:uri="a94926e9-160e-4e05-ac58-a7a94d893918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A61C5999-A6C1-431C-A8F7-E95ECC0697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C183713-F581-436F-A2C4-65F3AA4F85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4926e9-160e-4e05-ac58-a7a94d893918"/>
    <ds:schemaRef ds:uri="f7f1ad80-da9a-4b1d-981a-bd28f10e4c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78</TotalTime>
  <Words>198</Words>
  <Application>Microsoft Office PowerPoint</Application>
  <PresentationFormat>Widescreen</PresentationFormat>
  <Paragraphs>85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rial</vt:lpstr>
      <vt:lpstr>Calibri</vt:lpstr>
      <vt:lpstr>Cambria</vt:lpstr>
      <vt:lpstr>Lato</vt:lpstr>
      <vt:lpstr>Lato Light</vt:lpstr>
      <vt:lpstr>PMI Theme</vt:lpstr>
      <vt:lpstr>PMI IT Template Theme Slidebar</vt:lpstr>
      <vt:lpstr>PMI IT Template Theme</vt:lpstr>
      <vt:lpstr>6_Master</vt:lpstr>
      <vt:lpstr>3_Master</vt:lpstr>
      <vt:lpstr>1_Master</vt:lpstr>
      <vt:lpstr>think-cell Slide</vt:lpstr>
      <vt:lpstr>DTE for premium resellers</vt:lpstr>
      <vt:lpstr>PMSA analytics – scope evolution</vt:lpstr>
      <vt:lpstr>Monitoring tools</vt:lpstr>
      <vt:lpstr>DTE relaunch - Scop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, Yen</dc:creator>
  <cp:lastModifiedBy>El Khoury, Andre</cp:lastModifiedBy>
  <cp:revision>2</cp:revision>
  <dcterms:created xsi:type="dcterms:W3CDTF">2020-03-09T08:29:30Z</dcterms:created>
  <dcterms:modified xsi:type="dcterms:W3CDTF">2020-06-05T11:3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DC047D5E0EBB4880D33EE4C09CA284</vt:lpwstr>
  </property>
</Properties>
</file>